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tags/tag17.xml" ContentType="application/vnd.openxmlformats-officedocument.presentationml.tags+xml"/>
  <Override PartName="/ppt/notesSlides/notesSlide12.xml" ContentType="application/vnd.openxmlformats-officedocument.presentationml.notesSlide+xml"/>
  <Override PartName="/ppt/tags/tag18.xml" ContentType="application/vnd.openxmlformats-officedocument.presentationml.tags+xml"/>
  <Override PartName="/ppt/notesSlides/notesSlide13.xml" ContentType="application/vnd.openxmlformats-officedocument.presentationml.notesSlide+xml"/>
  <Override PartName="/ppt/tags/tag19.xml" ContentType="application/vnd.openxmlformats-officedocument.presentationml.tags+xml"/>
  <Override PartName="/ppt/notesSlides/notesSlide14.xml" ContentType="application/vnd.openxmlformats-officedocument.presentationml.notesSlide+xml"/>
  <Override PartName="/ppt/tags/tag20.xml" ContentType="application/vnd.openxmlformats-officedocument.presentationml.tags+xml"/>
  <Override PartName="/ppt/notesSlides/notesSlide15.xml" ContentType="application/vnd.openxmlformats-officedocument.presentationml.notesSlide+xml"/>
  <Override PartName="/ppt/tags/tag21.xml" ContentType="application/vnd.openxmlformats-officedocument.presentationml.tags+xml"/>
  <Override PartName="/ppt/notesSlides/notesSlide16.xml" ContentType="application/vnd.openxmlformats-officedocument.presentationml.notesSlide+xml"/>
  <Override PartName="/ppt/tags/tag22.xml" ContentType="application/vnd.openxmlformats-officedocument.presentationml.tags+xml"/>
  <Override PartName="/ppt/notesSlides/notesSlide17.xml" ContentType="application/vnd.openxmlformats-officedocument.presentationml.notesSlide+xml"/>
  <Override PartName="/ppt/tags/tag23.xml" ContentType="application/vnd.openxmlformats-officedocument.presentationml.tags+xml"/>
  <Override PartName="/ppt/notesSlides/notesSlide18.xml" ContentType="application/vnd.openxmlformats-officedocument.presentationml.notesSlide+xml"/>
  <Override PartName="/ppt/tags/tag24.xml" ContentType="application/vnd.openxmlformats-officedocument.presentationml.tags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337" r:id="rId2"/>
    <p:sldId id="350" r:id="rId3"/>
    <p:sldId id="338" r:id="rId4"/>
    <p:sldId id="336" r:id="rId5"/>
    <p:sldId id="339" r:id="rId6"/>
    <p:sldId id="344" r:id="rId7"/>
    <p:sldId id="345" r:id="rId8"/>
    <p:sldId id="358" r:id="rId9"/>
    <p:sldId id="346" r:id="rId10"/>
    <p:sldId id="347" r:id="rId11"/>
    <p:sldId id="360" r:id="rId12"/>
    <p:sldId id="348" r:id="rId13"/>
    <p:sldId id="359" r:id="rId14"/>
    <p:sldId id="354" r:id="rId15"/>
    <p:sldId id="355" r:id="rId16"/>
    <p:sldId id="361" r:id="rId17"/>
    <p:sldId id="351" r:id="rId18"/>
    <p:sldId id="352" r:id="rId19"/>
    <p:sldId id="357" r:id="rId20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D7D"/>
    <a:srgbClr val="FFB3B3"/>
    <a:srgbClr val="820000"/>
    <a:srgbClr val="BC0000"/>
    <a:srgbClr val="03154D"/>
    <a:srgbClr val="016EC0"/>
    <a:srgbClr val="4372C4"/>
    <a:srgbClr val="A8B9D9"/>
    <a:srgbClr val="A7B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554112-6404-403C-A743-7FE3323E2177}" v="1672" dt="2020-04-05T11:40:04.2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23" autoAdjust="0"/>
    <p:restoredTop sz="95220" autoAdjust="0"/>
  </p:normalViewPr>
  <p:slideViewPr>
    <p:cSldViewPr snapToGrid="0" showGuides="1">
      <p:cViewPr>
        <p:scale>
          <a:sx n="50" d="100"/>
          <a:sy n="50" d="100"/>
        </p:scale>
        <p:origin x="1574" y="83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661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nh-Kha Nguyen" userId="73ea909082ace275" providerId="LiveId" clId="{B1554112-6404-403C-A743-7FE3323E2177}"/>
    <pc:docChg chg="undo redo custSel addSld delSld modSld sldOrd">
      <pc:chgData name="Minh-Kha Nguyen" userId="73ea909082ace275" providerId="LiveId" clId="{B1554112-6404-403C-A743-7FE3323E2177}" dt="2020-04-05T11:40:24.172" v="14727" actId="1037"/>
      <pc:docMkLst>
        <pc:docMk/>
      </pc:docMkLst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1184311024" sldId="256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137517274" sldId="258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2349217556" sldId="259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3782747423" sldId="260"/>
        </pc:sldMkLst>
      </pc:sldChg>
      <pc:sldChg chg="del">
        <pc:chgData name="Minh-Kha Nguyen" userId="73ea909082ace275" providerId="LiveId" clId="{B1554112-6404-403C-A743-7FE3323E2177}" dt="2020-04-04T19:39:35.952" v="5762" actId="47"/>
        <pc:sldMkLst>
          <pc:docMk/>
          <pc:sldMk cId="2212282992" sldId="261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2126323235" sldId="272"/>
        </pc:sldMkLst>
      </pc:sldChg>
      <pc:sldChg chg="del">
        <pc:chgData name="Minh-Kha Nguyen" userId="73ea909082ace275" providerId="LiveId" clId="{B1554112-6404-403C-A743-7FE3323E2177}" dt="2020-04-04T19:49:53.399" v="6204" actId="47"/>
        <pc:sldMkLst>
          <pc:docMk/>
          <pc:sldMk cId="1113902540" sldId="277"/>
        </pc:sldMkLst>
      </pc:sldChg>
      <pc:sldChg chg="addSp modSp del mod">
        <pc:chgData name="Minh-Kha Nguyen" userId="73ea909082ace275" providerId="LiveId" clId="{B1554112-6404-403C-A743-7FE3323E2177}" dt="2020-04-04T19:35:09.524" v="5716" actId="47"/>
        <pc:sldMkLst>
          <pc:docMk/>
          <pc:sldMk cId="3381946399" sldId="280"/>
        </pc:sldMkLst>
        <pc:picChg chg="add mod">
          <ac:chgData name="Minh-Kha Nguyen" userId="73ea909082ace275" providerId="LiveId" clId="{B1554112-6404-403C-A743-7FE3323E2177}" dt="2020-04-04T16:41:37.527" v="344" actId="1076"/>
          <ac:picMkLst>
            <pc:docMk/>
            <pc:sldMk cId="3381946399" sldId="280"/>
            <ac:picMk id="3" creationId="{0994C7F8-D020-4682-92C1-6E4A876FCBD7}"/>
          </ac:picMkLst>
        </pc:picChg>
      </pc:sldChg>
      <pc:sldChg chg="del">
        <pc:chgData name="Minh-Kha Nguyen" userId="73ea909082ace275" providerId="LiveId" clId="{B1554112-6404-403C-A743-7FE3323E2177}" dt="2020-04-04T19:34:58.361" v="5715" actId="47"/>
        <pc:sldMkLst>
          <pc:docMk/>
          <pc:sldMk cId="917123087" sldId="281"/>
        </pc:sldMkLst>
      </pc:sldChg>
      <pc:sldChg chg="del">
        <pc:chgData name="Minh-Kha Nguyen" userId="73ea909082ace275" providerId="LiveId" clId="{B1554112-6404-403C-A743-7FE3323E2177}" dt="2020-04-04T19:34:58.361" v="5715" actId="47"/>
        <pc:sldMkLst>
          <pc:docMk/>
          <pc:sldMk cId="1375406775" sldId="284"/>
        </pc:sldMkLst>
      </pc:sldChg>
      <pc:sldChg chg="del">
        <pc:chgData name="Minh-Kha Nguyen" userId="73ea909082ace275" providerId="LiveId" clId="{B1554112-6404-403C-A743-7FE3323E2177}" dt="2020-04-04T19:34:58.361" v="5715" actId="47"/>
        <pc:sldMkLst>
          <pc:docMk/>
          <pc:sldMk cId="2574917739" sldId="285"/>
        </pc:sldMkLst>
      </pc:sldChg>
      <pc:sldChg chg="del">
        <pc:chgData name="Minh-Kha Nguyen" userId="73ea909082ace275" providerId="LiveId" clId="{B1554112-6404-403C-A743-7FE3323E2177}" dt="2020-04-04T19:34:58.361" v="5715" actId="47"/>
        <pc:sldMkLst>
          <pc:docMk/>
          <pc:sldMk cId="6527798" sldId="287"/>
        </pc:sldMkLst>
      </pc:sldChg>
      <pc:sldChg chg="del">
        <pc:chgData name="Minh-Kha Nguyen" userId="73ea909082ace275" providerId="LiveId" clId="{B1554112-6404-403C-A743-7FE3323E2177}" dt="2020-04-04T19:39:35.952" v="5762" actId="47"/>
        <pc:sldMkLst>
          <pc:docMk/>
          <pc:sldMk cId="4047854553" sldId="288"/>
        </pc:sldMkLst>
      </pc:sldChg>
      <pc:sldChg chg="del">
        <pc:chgData name="Minh-Kha Nguyen" userId="73ea909082ace275" providerId="LiveId" clId="{B1554112-6404-403C-A743-7FE3323E2177}" dt="2020-04-04T19:39:35.952" v="5762" actId="47"/>
        <pc:sldMkLst>
          <pc:docMk/>
          <pc:sldMk cId="1708317629" sldId="289"/>
        </pc:sldMkLst>
      </pc:sldChg>
      <pc:sldChg chg="del">
        <pc:chgData name="Minh-Kha Nguyen" userId="73ea909082ace275" providerId="LiveId" clId="{B1554112-6404-403C-A743-7FE3323E2177}" dt="2020-04-04T19:39:35.952" v="5762" actId="47"/>
        <pc:sldMkLst>
          <pc:docMk/>
          <pc:sldMk cId="3552474419" sldId="290"/>
        </pc:sldMkLst>
      </pc:sldChg>
      <pc:sldChg chg="del">
        <pc:chgData name="Minh-Kha Nguyen" userId="73ea909082ace275" providerId="LiveId" clId="{B1554112-6404-403C-A743-7FE3323E2177}" dt="2020-04-04T19:49:53.399" v="6204" actId="47"/>
        <pc:sldMkLst>
          <pc:docMk/>
          <pc:sldMk cId="823198997" sldId="291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450123985" sldId="292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440190972" sldId="293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2704697198" sldId="294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2069600463" sldId="295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1375417844" sldId="296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785126447" sldId="297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3390550923" sldId="298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3311875072" sldId="325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3692112690" sldId="327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2343341586" sldId="328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554887006" sldId="329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2274580890" sldId="330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543426134" sldId="331"/>
        </pc:sldMkLst>
      </pc:sldChg>
      <pc:sldChg chg="del">
        <pc:chgData name="Minh-Kha Nguyen" userId="73ea909082ace275" providerId="LiveId" clId="{B1554112-6404-403C-A743-7FE3323E2177}" dt="2020-04-04T19:56:55.875" v="6467" actId="47"/>
        <pc:sldMkLst>
          <pc:docMk/>
          <pc:sldMk cId="2040188372" sldId="332"/>
        </pc:sldMkLst>
      </pc:sldChg>
      <pc:sldChg chg="addSp delSp modSp add del mod ord">
        <pc:chgData name="Minh-Kha Nguyen" userId="73ea909082ace275" providerId="LiveId" clId="{B1554112-6404-403C-A743-7FE3323E2177}" dt="2020-04-04T19:35:09.524" v="5716" actId="47"/>
        <pc:sldMkLst>
          <pc:docMk/>
          <pc:sldMk cId="225724410" sldId="333"/>
        </pc:sldMkLst>
        <pc:spChg chg="del">
          <ac:chgData name="Minh-Kha Nguyen" userId="73ea909082ace275" providerId="LiveId" clId="{B1554112-6404-403C-A743-7FE3323E2177}" dt="2020-04-04T16:25:53.692" v="3"/>
          <ac:spMkLst>
            <pc:docMk/>
            <pc:sldMk cId="225724410" sldId="333"/>
            <ac:spMk id="2" creationId="{48D7B180-7712-4096-941C-517C8E7B38F0}"/>
          </ac:spMkLst>
        </pc:spChg>
        <pc:spChg chg="del">
          <ac:chgData name="Minh-Kha Nguyen" userId="73ea909082ace275" providerId="LiveId" clId="{B1554112-6404-403C-A743-7FE3323E2177}" dt="2020-04-04T16:25:53.692" v="3"/>
          <ac:spMkLst>
            <pc:docMk/>
            <pc:sldMk cId="225724410" sldId="333"/>
            <ac:spMk id="3" creationId="{EC0FFD7C-95B1-44F9-96B0-A2239E9E3DAD}"/>
          </ac:spMkLst>
        </pc:spChg>
        <pc:spChg chg="add mod">
          <ac:chgData name="Minh-Kha Nguyen" userId="73ea909082ace275" providerId="LiveId" clId="{B1554112-6404-403C-A743-7FE3323E2177}" dt="2020-04-04T16:27:40.731" v="21" actId="1076"/>
          <ac:spMkLst>
            <pc:docMk/>
            <pc:sldMk cId="225724410" sldId="333"/>
            <ac:spMk id="9" creationId="{96520688-32EA-4053-B2D8-BAF67B891028}"/>
          </ac:spMkLst>
        </pc:spChg>
        <pc:spChg chg="add del mod">
          <ac:chgData name="Minh-Kha Nguyen" userId="73ea909082ace275" providerId="LiveId" clId="{B1554112-6404-403C-A743-7FE3323E2177}" dt="2020-04-04T19:31:56.277" v="5628" actId="21"/>
          <ac:spMkLst>
            <pc:docMk/>
            <pc:sldMk cId="225724410" sldId="333"/>
            <ac:spMk id="10" creationId="{97F3F89C-A76B-4C3E-8ABF-468331346A95}"/>
          </ac:spMkLst>
        </pc:spChg>
        <pc:spChg chg="add mod">
          <ac:chgData name="Minh-Kha Nguyen" userId="73ea909082ace275" providerId="LiveId" clId="{B1554112-6404-403C-A743-7FE3323E2177}" dt="2020-04-04T16:27:40.731" v="21" actId="1076"/>
          <ac:spMkLst>
            <pc:docMk/>
            <pc:sldMk cId="225724410" sldId="333"/>
            <ac:spMk id="11" creationId="{614D5721-CDCD-410D-9F24-C74EFAF413DD}"/>
          </ac:spMkLst>
        </pc:spChg>
        <pc:graphicFrameChg chg="add mod modVis">
          <ac:chgData name="Minh-Kha Nguyen" userId="73ea909082ace275" providerId="LiveId" clId="{B1554112-6404-403C-A743-7FE3323E2177}" dt="2020-04-04T16:25:54.228" v="16"/>
          <ac:graphicFrameMkLst>
            <pc:docMk/>
            <pc:sldMk cId="225724410" sldId="333"/>
            <ac:graphicFrameMk id="4" creationId="{620D8C88-2786-403E-945E-1EC6BE907810}"/>
          </ac:graphicFrameMkLst>
        </pc:graphicFrameChg>
        <pc:picChg chg="add del">
          <ac:chgData name="Minh-Kha Nguyen" userId="73ea909082ace275" providerId="LiveId" clId="{B1554112-6404-403C-A743-7FE3323E2177}" dt="2020-04-04T16:34:41.911" v="84" actId="478"/>
          <ac:picMkLst>
            <pc:docMk/>
            <pc:sldMk cId="225724410" sldId="333"/>
            <ac:picMk id="5" creationId="{A27C8AF3-6DFA-4883-9D62-B13B49910F37}"/>
          </ac:picMkLst>
        </pc:picChg>
        <pc:picChg chg="add del">
          <ac:chgData name="Minh-Kha Nguyen" userId="73ea909082ace275" providerId="LiveId" clId="{B1554112-6404-403C-A743-7FE3323E2177}" dt="2020-04-04T16:34:41.911" v="84" actId="478"/>
          <ac:picMkLst>
            <pc:docMk/>
            <pc:sldMk cId="225724410" sldId="333"/>
            <ac:picMk id="6" creationId="{DE0AFC79-DE56-4DA0-B459-8040151E0151}"/>
          </ac:picMkLst>
        </pc:picChg>
        <pc:picChg chg="add del mod">
          <ac:chgData name="Minh-Kha Nguyen" userId="73ea909082ace275" providerId="LiveId" clId="{B1554112-6404-403C-A743-7FE3323E2177}" dt="2020-04-04T16:34:36.008" v="82" actId="478"/>
          <ac:picMkLst>
            <pc:docMk/>
            <pc:sldMk cId="225724410" sldId="333"/>
            <ac:picMk id="7" creationId="{85E32CEF-F66A-4F9A-A07C-9B9A7F3DD879}"/>
          </ac:picMkLst>
        </pc:picChg>
        <pc:picChg chg="add del mod">
          <ac:chgData name="Minh-Kha Nguyen" userId="73ea909082ace275" providerId="LiveId" clId="{B1554112-6404-403C-A743-7FE3323E2177}" dt="2020-04-04T16:34:36.008" v="82" actId="478"/>
          <ac:picMkLst>
            <pc:docMk/>
            <pc:sldMk cId="225724410" sldId="333"/>
            <ac:picMk id="8" creationId="{2C4FCFAB-2E3E-4704-BD1C-FCC4FE5E3088}"/>
          </ac:picMkLst>
        </pc:picChg>
        <pc:picChg chg="add mod">
          <ac:chgData name="Minh-Kha Nguyen" userId="73ea909082ace275" providerId="LiveId" clId="{B1554112-6404-403C-A743-7FE3323E2177}" dt="2020-04-04T16:27:58.031" v="74" actId="1038"/>
          <ac:picMkLst>
            <pc:docMk/>
            <pc:sldMk cId="225724410" sldId="333"/>
            <ac:picMk id="12" creationId="{615376EF-509E-4012-B77C-CC45AF61AF42}"/>
          </ac:picMkLst>
        </pc:picChg>
        <pc:picChg chg="add mod">
          <ac:chgData name="Minh-Kha Nguyen" userId="73ea909082ace275" providerId="LiveId" clId="{B1554112-6404-403C-A743-7FE3323E2177}" dt="2020-04-04T16:29:00.933" v="76" actId="1076"/>
          <ac:picMkLst>
            <pc:docMk/>
            <pc:sldMk cId="225724410" sldId="333"/>
            <ac:picMk id="13" creationId="{8A1CADE0-0C2C-4220-8632-9C7B2708AB54}"/>
          </ac:picMkLst>
        </pc:picChg>
        <pc:picChg chg="add mod">
          <ac:chgData name="Minh-Kha Nguyen" userId="73ea909082ace275" providerId="LiveId" clId="{B1554112-6404-403C-A743-7FE3323E2177}" dt="2020-04-04T16:34:38.355" v="83" actId="1076"/>
          <ac:picMkLst>
            <pc:docMk/>
            <pc:sldMk cId="225724410" sldId="333"/>
            <ac:picMk id="14" creationId="{A396F54B-B5E7-4E86-B9F6-07ED978566BF}"/>
          </ac:picMkLst>
        </pc:picChg>
        <pc:picChg chg="add mod">
          <ac:chgData name="Minh-Kha Nguyen" userId="73ea909082ace275" providerId="LiveId" clId="{B1554112-6404-403C-A743-7FE3323E2177}" dt="2020-04-04T16:34:38.355" v="83" actId="1076"/>
          <ac:picMkLst>
            <pc:docMk/>
            <pc:sldMk cId="225724410" sldId="333"/>
            <ac:picMk id="15" creationId="{7390F54D-B072-448F-81AA-DD586F18BD9C}"/>
          </ac:picMkLst>
        </pc:picChg>
      </pc:sldChg>
      <pc:sldChg chg="addSp delSp modSp add del mod">
        <pc:chgData name="Minh-Kha Nguyen" userId="73ea909082ace275" providerId="LiveId" clId="{B1554112-6404-403C-A743-7FE3323E2177}" dt="2020-04-04T19:35:09.524" v="5716" actId="47"/>
        <pc:sldMkLst>
          <pc:docMk/>
          <pc:sldMk cId="1679277975" sldId="334"/>
        </pc:sldMkLst>
        <pc:graphicFrameChg chg="add mod ord modVis">
          <ac:chgData name="Minh-Kha Nguyen" userId="73ea909082ace275" providerId="LiveId" clId="{B1554112-6404-403C-A743-7FE3323E2177}" dt="2020-04-04T16:40:19.227" v="290"/>
          <ac:graphicFrameMkLst>
            <pc:docMk/>
            <pc:sldMk cId="1679277975" sldId="334"/>
            <ac:graphicFrameMk id="10" creationId="{C8BAA3FB-6799-4D9F-A6F1-FDC1BE3F85FC}"/>
          </ac:graphicFrameMkLst>
        </pc:graphicFrameChg>
        <pc:picChg chg="add del mod">
          <ac:chgData name="Minh-Kha Nguyen" userId="73ea909082ace275" providerId="LiveId" clId="{B1554112-6404-403C-A743-7FE3323E2177}" dt="2020-04-04T16:34:46.892" v="85" actId="478"/>
          <ac:picMkLst>
            <pc:docMk/>
            <pc:sldMk cId="1679277975" sldId="334"/>
            <ac:picMk id="2" creationId="{10661DFC-F58D-4841-B57A-B85841211597}"/>
          </ac:picMkLst>
        </pc:picChg>
        <pc:picChg chg="add mod ord">
          <ac:chgData name="Minh-Kha Nguyen" userId="73ea909082ace275" providerId="LiveId" clId="{B1554112-6404-403C-A743-7FE3323E2177}" dt="2020-04-04T16:58:47.318" v="354" actId="1076"/>
          <ac:picMkLst>
            <pc:docMk/>
            <pc:sldMk cId="1679277975" sldId="334"/>
            <ac:picMk id="3" creationId="{87572C4F-1FC7-4FB8-A049-07E3D0ED9380}"/>
          </ac:picMkLst>
        </pc:picChg>
        <pc:picChg chg="add mod ord">
          <ac:chgData name="Minh-Kha Nguyen" userId="73ea909082ace275" providerId="LiveId" clId="{B1554112-6404-403C-A743-7FE3323E2177}" dt="2020-04-04T16:58:43.513" v="352" actId="1076"/>
          <ac:picMkLst>
            <pc:docMk/>
            <pc:sldMk cId="1679277975" sldId="334"/>
            <ac:picMk id="4" creationId="{8F93D63D-44F2-4794-9FB1-1D13FF07EA68}"/>
          </ac:picMkLst>
        </pc:picChg>
        <pc:picChg chg="add mod ord">
          <ac:chgData name="Minh-Kha Nguyen" userId="73ea909082ace275" providerId="LiveId" clId="{B1554112-6404-403C-A743-7FE3323E2177}" dt="2020-04-04T16:58:43.513" v="352" actId="1076"/>
          <ac:picMkLst>
            <pc:docMk/>
            <pc:sldMk cId="1679277975" sldId="334"/>
            <ac:picMk id="5" creationId="{014801BA-29E0-4E72-85D3-17864850B983}"/>
          </ac:picMkLst>
        </pc:picChg>
        <pc:picChg chg="add mod ord">
          <ac:chgData name="Minh-Kha Nguyen" userId="73ea909082ace275" providerId="LiveId" clId="{B1554112-6404-403C-A743-7FE3323E2177}" dt="2020-04-04T16:58:43.513" v="352" actId="1076"/>
          <ac:picMkLst>
            <pc:docMk/>
            <pc:sldMk cId="1679277975" sldId="334"/>
            <ac:picMk id="6" creationId="{13B7239D-FDC4-49BA-87AD-6CED3725D381}"/>
          </ac:picMkLst>
        </pc:picChg>
        <pc:picChg chg="add mod ord">
          <ac:chgData name="Minh-Kha Nguyen" userId="73ea909082ace275" providerId="LiveId" clId="{B1554112-6404-403C-A743-7FE3323E2177}" dt="2020-04-04T16:58:43.513" v="352" actId="1076"/>
          <ac:picMkLst>
            <pc:docMk/>
            <pc:sldMk cId="1679277975" sldId="334"/>
            <ac:picMk id="7" creationId="{2EF458E9-6B07-4B8F-9CBA-2FBC6B72D064}"/>
          </ac:picMkLst>
        </pc:picChg>
        <pc:picChg chg="add mod ord">
          <ac:chgData name="Minh-Kha Nguyen" userId="73ea909082ace275" providerId="LiveId" clId="{B1554112-6404-403C-A743-7FE3323E2177}" dt="2020-04-04T16:58:43.513" v="352" actId="1076"/>
          <ac:picMkLst>
            <pc:docMk/>
            <pc:sldMk cId="1679277975" sldId="334"/>
            <ac:picMk id="8" creationId="{1F049EC4-C69C-4E8B-AA87-D51591C6F4D2}"/>
          </ac:picMkLst>
        </pc:picChg>
        <pc:picChg chg="add del mod ord">
          <ac:chgData name="Minh-Kha Nguyen" userId="73ea909082ace275" providerId="LiveId" clId="{B1554112-6404-403C-A743-7FE3323E2177}" dt="2020-04-04T16:40:15.177" v="270" actId="478"/>
          <ac:picMkLst>
            <pc:docMk/>
            <pc:sldMk cId="1679277975" sldId="334"/>
            <ac:picMk id="9" creationId="{8D85B0B5-AF7D-47FE-BF2F-A363B980D970}"/>
          </ac:picMkLst>
        </pc:picChg>
        <pc:picChg chg="add mod ord">
          <ac:chgData name="Minh-Kha Nguyen" userId="73ea909082ace275" providerId="LiveId" clId="{B1554112-6404-403C-A743-7FE3323E2177}" dt="2020-04-04T16:58:29.550" v="348" actId="14100"/>
          <ac:picMkLst>
            <pc:docMk/>
            <pc:sldMk cId="1679277975" sldId="334"/>
            <ac:picMk id="11" creationId="{C9C19285-91AB-4A40-A564-222BCCB9B37A}"/>
          </ac:picMkLst>
        </pc:picChg>
      </pc:sldChg>
      <pc:sldChg chg="add del">
        <pc:chgData name="Minh-Kha Nguyen" userId="73ea909082ace275" providerId="LiveId" clId="{B1554112-6404-403C-A743-7FE3323E2177}" dt="2020-04-04T19:34:58.361" v="5715" actId="47"/>
        <pc:sldMkLst>
          <pc:docMk/>
          <pc:sldMk cId="1056729175" sldId="335"/>
        </pc:sldMkLst>
      </pc:sldChg>
      <pc:sldChg chg="addSp delSp modSp add mod modTransition modAnim">
        <pc:chgData name="Minh-Kha Nguyen" userId="73ea909082ace275" providerId="LiveId" clId="{B1554112-6404-403C-A743-7FE3323E2177}" dt="2020-04-04T20:15:41.034" v="6677" actId="14100"/>
        <pc:sldMkLst>
          <pc:docMk/>
          <pc:sldMk cId="691718169" sldId="336"/>
        </pc:sldMkLst>
        <pc:spChg chg="del">
          <ac:chgData name="Minh-Kha Nguyen" userId="73ea909082ace275" providerId="LiveId" clId="{B1554112-6404-403C-A743-7FE3323E2177}" dt="2020-04-04T17:35:12.072" v="356"/>
          <ac:spMkLst>
            <pc:docMk/>
            <pc:sldMk cId="691718169" sldId="336"/>
            <ac:spMk id="2" creationId="{F854CA72-A254-4801-B85B-FBD709D2F775}"/>
          </ac:spMkLst>
        </pc:spChg>
        <pc:spChg chg="del">
          <ac:chgData name="Minh-Kha Nguyen" userId="73ea909082ace275" providerId="LiveId" clId="{B1554112-6404-403C-A743-7FE3323E2177}" dt="2020-04-04T17:35:12.072" v="356"/>
          <ac:spMkLst>
            <pc:docMk/>
            <pc:sldMk cId="691718169" sldId="336"/>
            <ac:spMk id="3" creationId="{2AFC55C1-5E76-4D62-AFFC-8C58B7D9C8FA}"/>
          </ac:spMkLst>
        </pc:spChg>
        <pc:spChg chg="add del mod ord">
          <ac:chgData name="Minh-Kha Nguyen" userId="73ea909082ace275" providerId="LiveId" clId="{B1554112-6404-403C-A743-7FE3323E2177}" dt="2020-04-04T19:35:38.873" v="5717" actId="478"/>
          <ac:spMkLst>
            <pc:docMk/>
            <pc:sldMk cId="691718169" sldId="336"/>
            <ac:spMk id="15" creationId="{4E7D0247-FAE1-4F9C-BDC2-8C7813CE60CE}"/>
          </ac:spMkLst>
        </pc:spChg>
        <pc:graphicFrameChg chg="add mod ord modVis">
          <ac:chgData name="Minh-Kha Nguyen" userId="73ea909082ace275" providerId="LiveId" clId="{B1554112-6404-403C-A743-7FE3323E2177}" dt="2020-04-04T17:49:20.479" v="1613"/>
          <ac:graphicFrameMkLst>
            <pc:docMk/>
            <pc:sldMk cId="691718169" sldId="336"/>
            <ac:graphicFrameMk id="4" creationId="{0335BD31-9BEB-4951-908E-6DF29B0B511F}"/>
          </ac:graphicFrameMkLst>
        </pc:graphicFrameChg>
        <pc:picChg chg="add mod ord modCrop">
          <ac:chgData name="Minh-Kha Nguyen" userId="73ea909082ace275" providerId="LiveId" clId="{B1554112-6404-403C-A743-7FE3323E2177}" dt="2020-04-04T17:49:20.079" v="1611"/>
          <ac:picMkLst>
            <pc:docMk/>
            <pc:sldMk cId="691718169" sldId="336"/>
            <ac:picMk id="5" creationId="{5A919BC2-87B9-41EA-90BB-BAC6E8B22F57}"/>
          </ac:picMkLst>
        </pc:picChg>
        <pc:picChg chg="add mod ord">
          <ac:chgData name="Minh-Kha Nguyen" userId="73ea909082ace275" providerId="LiveId" clId="{B1554112-6404-403C-A743-7FE3323E2177}" dt="2020-04-04T17:49:20.079" v="1611"/>
          <ac:picMkLst>
            <pc:docMk/>
            <pc:sldMk cId="691718169" sldId="336"/>
            <ac:picMk id="6" creationId="{182F4DCE-3821-4CD2-9A16-8FB1B79D4BB7}"/>
          </ac:picMkLst>
        </pc:picChg>
        <pc:picChg chg="add mod ord">
          <ac:chgData name="Minh-Kha Nguyen" userId="73ea909082ace275" providerId="LiveId" clId="{B1554112-6404-403C-A743-7FE3323E2177}" dt="2020-04-04T17:49:20.079" v="1611"/>
          <ac:picMkLst>
            <pc:docMk/>
            <pc:sldMk cId="691718169" sldId="336"/>
            <ac:picMk id="7" creationId="{649370CD-2285-44A3-AFB6-302A110A5976}"/>
          </ac:picMkLst>
        </pc:picChg>
        <pc:picChg chg="add mod ord">
          <ac:chgData name="Minh-Kha Nguyen" userId="73ea909082ace275" providerId="LiveId" clId="{B1554112-6404-403C-A743-7FE3323E2177}" dt="2020-04-04T17:49:20.079" v="1611"/>
          <ac:picMkLst>
            <pc:docMk/>
            <pc:sldMk cId="691718169" sldId="336"/>
            <ac:picMk id="8" creationId="{A66BDBAE-A47C-46E9-8D95-1BE1D22E4710}"/>
          </ac:picMkLst>
        </pc:picChg>
        <pc:picChg chg="add mod ord">
          <ac:chgData name="Minh-Kha Nguyen" userId="73ea909082ace275" providerId="LiveId" clId="{B1554112-6404-403C-A743-7FE3323E2177}" dt="2020-04-04T17:49:20.079" v="1611"/>
          <ac:picMkLst>
            <pc:docMk/>
            <pc:sldMk cId="691718169" sldId="336"/>
            <ac:picMk id="9" creationId="{67D3DF17-80E0-4473-BD89-D7E7E8423929}"/>
          </ac:picMkLst>
        </pc:picChg>
        <pc:picChg chg="add mod ord">
          <ac:chgData name="Minh-Kha Nguyen" userId="73ea909082ace275" providerId="LiveId" clId="{B1554112-6404-403C-A743-7FE3323E2177}" dt="2020-04-04T17:49:20.079" v="1611"/>
          <ac:picMkLst>
            <pc:docMk/>
            <pc:sldMk cId="691718169" sldId="336"/>
            <ac:picMk id="10" creationId="{82BCAAF5-44F3-4C8A-BE13-C117EBC77718}"/>
          </ac:picMkLst>
        </pc:picChg>
        <pc:picChg chg="add del mod">
          <ac:chgData name="Minh-Kha Nguyen" userId="73ea909082ace275" providerId="LiveId" clId="{B1554112-6404-403C-A743-7FE3323E2177}" dt="2020-04-04T17:36:35.416" v="634" actId="478"/>
          <ac:picMkLst>
            <pc:docMk/>
            <pc:sldMk cId="691718169" sldId="336"/>
            <ac:picMk id="11" creationId="{07BC9AF8-CBBE-4A34-9E11-29AB4EE54EC9}"/>
          </ac:picMkLst>
        </pc:picChg>
        <pc:picChg chg="add del mod">
          <ac:chgData name="Minh-Kha Nguyen" userId="73ea909082ace275" providerId="LiveId" clId="{B1554112-6404-403C-A743-7FE3323E2177}" dt="2020-04-04T17:44:59.645" v="1235" actId="21"/>
          <ac:picMkLst>
            <pc:docMk/>
            <pc:sldMk cId="691718169" sldId="336"/>
            <ac:picMk id="13" creationId="{30E3F9B0-8B80-43AB-8AAE-9C2E477CC94F}"/>
          </ac:picMkLst>
        </pc:picChg>
        <pc:picChg chg="add mod ord">
          <ac:chgData name="Minh-Kha Nguyen" userId="73ea909082ace275" providerId="LiveId" clId="{B1554112-6404-403C-A743-7FE3323E2177}" dt="2020-04-04T17:49:20.079" v="1611"/>
          <ac:picMkLst>
            <pc:docMk/>
            <pc:sldMk cId="691718169" sldId="336"/>
            <ac:picMk id="14" creationId="{C283DBDD-7BB7-421B-8A50-103A33430F53}"/>
          </ac:picMkLst>
        </pc:picChg>
        <pc:picChg chg="add mod">
          <ac:chgData name="Minh-Kha Nguyen" userId="73ea909082ace275" providerId="LiveId" clId="{B1554112-6404-403C-A743-7FE3323E2177}" dt="2020-04-04T20:15:41.034" v="6677" actId="14100"/>
          <ac:picMkLst>
            <pc:docMk/>
            <pc:sldMk cId="691718169" sldId="336"/>
            <ac:picMk id="16" creationId="{DF6D7CED-2D6A-4845-921A-D61D488DFF88}"/>
          </ac:picMkLst>
        </pc:picChg>
      </pc:sldChg>
      <pc:sldChg chg="addSp delSp modSp add mod ord">
        <pc:chgData name="Minh-Kha Nguyen" userId="73ea909082ace275" providerId="LiveId" clId="{B1554112-6404-403C-A743-7FE3323E2177}" dt="2020-04-04T19:57:42.798" v="6469" actId="478"/>
        <pc:sldMkLst>
          <pc:docMk/>
          <pc:sldMk cId="2689097844" sldId="337"/>
        </pc:sldMkLst>
        <pc:picChg chg="mod">
          <ac:chgData name="Minh-Kha Nguyen" userId="73ea909082ace275" providerId="LiveId" clId="{B1554112-6404-403C-A743-7FE3323E2177}" dt="2020-04-04T17:38:13.702" v="895" actId="1035"/>
          <ac:picMkLst>
            <pc:docMk/>
            <pc:sldMk cId="2689097844" sldId="337"/>
            <ac:picMk id="5" creationId="{5A919BC2-87B9-41EA-90BB-BAC6E8B22F57}"/>
          </ac:picMkLst>
        </pc:picChg>
        <pc:picChg chg="del">
          <ac:chgData name="Minh-Kha Nguyen" userId="73ea909082ace275" providerId="LiveId" clId="{B1554112-6404-403C-A743-7FE3323E2177}" dt="2020-04-04T19:57:42.798" v="6469" actId="478"/>
          <ac:picMkLst>
            <pc:docMk/>
            <pc:sldMk cId="2689097844" sldId="337"/>
            <ac:picMk id="6" creationId="{182F4DCE-3821-4CD2-9A16-8FB1B79D4BB7}"/>
          </ac:picMkLst>
        </pc:picChg>
        <pc:picChg chg="del mod">
          <ac:chgData name="Minh-Kha Nguyen" userId="73ea909082ace275" providerId="LiveId" clId="{B1554112-6404-403C-A743-7FE3323E2177}" dt="2020-04-04T17:40:31.270" v="1224" actId="478"/>
          <ac:picMkLst>
            <pc:docMk/>
            <pc:sldMk cId="2689097844" sldId="337"/>
            <ac:picMk id="7" creationId="{649370CD-2285-44A3-AFB6-302A110A5976}"/>
          </ac:picMkLst>
        </pc:picChg>
        <pc:picChg chg="del mod">
          <ac:chgData name="Minh-Kha Nguyen" userId="73ea909082ace275" providerId="LiveId" clId="{B1554112-6404-403C-A743-7FE3323E2177}" dt="2020-04-04T17:40:31.270" v="1224" actId="478"/>
          <ac:picMkLst>
            <pc:docMk/>
            <pc:sldMk cId="2689097844" sldId="337"/>
            <ac:picMk id="8" creationId="{A66BDBAE-A47C-46E9-8D95-1BE1D22E4710}"/>
          </ac:picMkLst>
        </pc:picChg>
        <pc:picChg chg="mod">
          <ac:chgData name="Minh-Kha Nguyen" userId="73ea909082ace275" providerId="LiveId" clId="{B1554112-6404-403C-A743-7FE3323E2177}" dt="2020-04-04T17:38:27.834" v="957" actId="1036"/>
          <ac:picMkLst>
            <pc:docMk/>
            <pc:sldMk cId="2689097844" sldId="337"/>
            <ac:picMk id="9" creationId="{67D3DF17-80E0-4473-BD89-D7E7E8423929}"/>
          </ac:picMkLst>
        </pc:picChg>
        <pc:picChg chg="mod">
          <ac:chgData name="Minh-Kha Nguyen" userId="73ea909082ace275" providerId="LiveId" clId="{B1554112-6404-403C-A743-7FE3323E2177}" dt="2020-04-04T17:38:27.834" v="957" actId="1036"/>
          <ac:picMkLst>
            <pc:docMk/>
            <pc:sldMk cId="2689097844" sldId="337"/>
            <ac:picMk id="10" creationId="{82BCAAF5-44F3-4C8A-BE13-C117EBC77718}"/>
          </ac:picMkLst>
        </pc:picChg>
        <pc:picChg chg="add">
          <ac:chgData name="Minh-Kha Nguyen" userId="73ea909082ace275" providerId="LiveId" clId="{B1554112-6404-403C-A743-7FE3323E2177}" dt="2020-04-04T17:40:27.928" v="1223"/>
          <ac:picMkLst>
            <pc:docMk/>
            <pc:sldMk cId="2689097844" sldId="337"/>
            <ac:picMk id="11" creationId="{50389DED-0973-42CF-9741-4FF6B5B7B145}"/>
          </ac:picMkLst>
        </pc:picChg>
        <pc:picChg chg="add">
          <ac:chgData name="Minh-Kha Nguyen" userId="73ea909082ace275" providerId="LiveId" clId="{B1554112-6404-403C-A743-7FE3323E2177}" dt="2020-04-04T17:40:27.928" v="1223"/>
          <ac:picMkLst>
            <pc:docMk/>
            <pc:sldMk cId="2689097844" sldId="337"/>
            <ac:picMk id="12" creationId="{F51915BF-C736-439B-81DD-78B8C890DA11}"/>
          </ac:picMkLst>
        </pc:picChg>
      </pc:sldChg>
      <pc:sldChg chg="modSp add mod modTransition">
        <pc:chgData name="Minh-Kha Nguyen" userId="73ea909082ace275" providerId="LiveId" clId="{B1554112-6404-403C-A743-7FE3323E2177}" dt="2020-04-04T17:39:53.819" v="1222" actId="1035"/>
        <pc:sldMkLst>
          <pc:docMk/>
          <pc:sldMk cId="1503156390" sldId="338"/>
        </pc:sldMkLst>
        <pc:picChg chg="mod">
          <ac:chgData name="Minh-Kha Nguyen" userId="73ea909082ace275" providerId="LiveId" clId="{B1554112-6404-403C-A743-7FE3323E2177}" dt="2020-04-04T17:38:45.248" v="1068" actId="1035"/>
          <ac:picMkLst>
            <pc:docMk/>
            <pc:sldMk cId="1503156390" sldId="338"/>
            <ac:picMk id="5" creationId="{5A919BC2-87B9-41EA-90BB-BAC6E8B22F57}"/>
          </ac:picMkLst>
        </pc:picChg>
        <pc:picChg chg="mod">
          <ac:chgData name="Minh-Kha Nguyen" userId="73ea909082ace275" providerId="LiveId" clId="{B1554112-6404-403C-A743-7FE3323E2177}" dt="2020-04-04T17:39:53.819" v="1222" actId="1035"/>
          <ac:picMkLst>
            <pc:docMk/>
            <pc:sldMk cId="1503156390" sldId="338"/>
            <ac:picMk id="7" creationId="{649370CD-2285-44A3-AFB6-302A110A5976}"/>
          </ac:picMkLst>
        </pc:picChg>
        <pc:picChg chg="mod">
          <ac:chgData name="Minh-Kha Nguyen" userId="73ea909082ace275" providerId="LiveId" clId="{B1554112-6404-403C-A743-7FE3323E2177}" dt="2020-04-04T17:39:53.819" v="1222" actId="1035"/>
          <ac:picMkLst>
            <pc:docMk/>
            <pc:sldMk cId="1503156390" sldId="338"/>
            <ac:picMk id="8" creationId="{A66BDBAE-A47C-46E9-8D95-1BE1D22E4710}"/>
          </ac:picMkLst>
        </pc:picChg>
      </pc:sldChg>
      <pc:sldChg chg="addSp delSp modSp add mod modTransition modAnim">
        <pc:chgData name="Minh-Kha Nguyen" userId="73ea909082ace275" providerId="LiveId" clId="{B1554112-6404-403C-A743-7FE3323E2177}" dt="2020-04-04T20:20:34.893" v="7111" actId="478"/>
        <pc:sldMkLst>
          <pc:docMk/>
          <pc:sldMk cId="2645115875" sldId="339"/>
        </pc:sldMkLst>
        <pc:spChg chg="add mod ord">
          <ac:chgData name="Minh-Kha Nguyen" userId="73ea909082ace275" providerId="LiveId" clId="{B1554112-6404-403C-A743-7FE3323E2177}" dt="2020-04-04T18:20:09.552" v="3740"/>
          <ac:spMkLst>
            <pc:docMk/>
            <pc:sldMk cId="2645115875" sldId="339"/>
            <ac:spMk id="2" creationId="{16E0F010-D42B-41EF-9A76-EA4A5F1FFE2A}"/>
          </ac:spMkLst>
        </pc:spChg>
        <pc:spChg chg="add del">
          <ac:chgData name="Minh-Kha Nguyen" userId="73ea909082ace275" providerId="LiveId" clId="{B1554112-6404-403C-A743-7FE3323E2177}" dt="2020-04-04T19:12:00.575" v="3991" actId="21"/>
          <ac:spMkLst>
            <pc:docMk/>
            <pc:sldMk cId="2645115875" sldId="339"/>
            <ac:spMk id="34" creationId="{F958501F-2B7F-4B62-B2E6-756EEA758FBE}"/>
          </ac:spMkLst>
        </pc:spChg>
        <pc:grpChg chg="add del mod">
          <ac:chgData name="Minh-Kha Nguyen" userId="73ea909082ace275" providerId="LiveId" clId="{B1554112-6404-403C-A743-7FE3323E2177}" dt="2020-04-04T17:54:45.637" v="2422"/>
          <ac:grpSpMkLst>
            <pc:docMk/>
            <pc:sldMk cId="2645115875" sldId="339"/>
            <ac:grpSpMk id="13" creationId="{8575559F-B4EA-4E7A-95F4-BFE3FF0EBFE9}"/>
          </ac:grpSpMkLst>
        </pc:grpChg>
        <pc:grpChg chg="add del mod ord">
          <ac:chgData name="Minh-Kha Nguyen" userId="73ea909082ace275" providerId="LiveId" clId="{B1554112-6404-403C-A743-7FE3323E2177}" dt="2020-04-04T20:20:31.423" v="7109" actId="478"/>
          <ac:grpSpMkLst>
            <pc:docMk/>
            <pc:sldMk cId="2645115875" sldId="339"/>
            <ac:grpSpMk id="19" creationId="{39F4213A-FAAB-41F9-8E38-49F618C8282F}"/>
          </ac:grpSpMkLst>
        </pc:grpChg>
        <pc:graphicFrameChg chg="mod ord">
          <ac:chgData name="Minh-Kha Nguyen" userId="73ea909082ace275" providerId="LiveId" clId="{B1554112-6404-403C-A743-7FE3323E2177}" dt="2020-04-04T18:20:09.564" v="3750"/>
          <ac:graphicFrameMkLst>
            <pc:docMk/>
            <pc:sldMk cId="2645115875" sldId="339"/>
            <ac:graphicFrameMk id="4" creationId="{0335BD31-9BEB-4951-908E-6DF29B0B511F}"/>
          </ac:graphicFrameMkLst>
        </pc:graphicFrameChg>
        <pc:picChg chg="mod ord">
          <ac:chgData name="Minh-Kha Nguyen" userId="73ea909082ace275" providerId="LiveId" clId="{B1554112-6404-403C-A743-7FE3323E2177}" dt="2020-04-04T18:20:09.548" v="3728"/>
          <ac:picMkLst>
            <pc:docMk/>
            <pc:sldMk cId="2645115875" sldId="339"/>
            <ac:picMk id="5" creationId="{5A919BC2-87B9-41EA-90BB-BAC6E8B22F57}"/>
          </ac:picMkLst>
        </pc:picChg>
        <pc:picChg chg="mod ord">
          <ac:chgData name="Minh-Kha Nguyen" userId="73ea909082ace275" providerId="LiveId" clId="{B1554112-6404-403C-A743-7FE3323E2177}" dt="2020-04-04T18:20:09.548" v="3730"/>
          <ac:picMkLst>
            <pc:docMk/>
            <pc:sldMk cId="2645115875" sldId="339"/>
            <ac:picMk id="6" creationId="{182F4DCE-3821-4CD2-9A16-8FB1B79D4BB7}"/>
          </ac:picMkLst>
        </pc:picChg>
        <pc:picChg chg="mod ord">
          <ac:chgData name="Minh-Kha Nguyen" userId="73ea909082ace275" providerId="LiveId" clId="{B1554112-6404-403C-A743-7FE3323E2177}" dt="2020-04-04T18:20:09.549" v="3732"/>
          <ac:picMkLst>
            <pc:docMk/>
            <pc:sldMk cId="2645115875" sldId="339"/>
            <ac:picMk id="7" creationId="{649370CD-2285-44A3-AFB6-302A110A5976}"/>
          </ac:picMkLst>
        </pc:picChg>
        <pc:picChg chg="mod ord">
          <ac:chgData name="Minh-Kha Nguyen" userId="73ea909082ace275" providerId="LiveId" clId="{B1554112-6404-403C-A743-7FE3323E2177}" dt="2020-04-04T18:20:09.550" v="3734"/>
          <ac:picMkLst>
            <pc:docMk/>
            <pc:sldMk cId="2645115875" sldId="339"/>
            <ac:picMk id="8" creationId="{A66BDBAE-A47C-46E9-8D95-1BE1D22E4710}"/>
          </ac:picMkLst>
        </pc:picChg>
        <pc:picChg chg="mod ord">
          <ac:chgData name="Minh-Kha Nguyen" userId="73ea909082ace275" providerId="LiveId" clId="{B1554112-6404-403C-A743-7FE3323E2177}" dt="2020-04-04T18:20:09.550" v="3736"/>
          <ac:picMkLst>
            <pc:docMk/>
            <pc:sldMk cId="2645115875" sldId="339"/>
            <ac:picMk id="9" creationId="{67D3DF17-80E0-4473-BD89-D7E7E8423929}"/>
          </ac:picMkLst>
        </pc:picChg>
        <pc:picChg chg="mod ord">
          <ac:chgData name="Minh-Kha Nguyen" userId="73ea909082ace275" providerId="LiveId" clId="{B1554112-6404-403C-A743-7FE3323E2177}" dt="2020-04-04T18:20:09.551" v="3738"/>
          <ac:picMkLst>
            <pc:docMk/>
            <pc:sldMk cId="2645115875" sldId="339"/>
            <ac:picMk id="10" creationId="{82BCAAF5-44F3-4C8A-BE13-C117EBC77718}"/>
          </ac:picMkLst>
        </pc:picChg>
        <pc:picChg chg="add mod ord">
          <ac:chgData name="Minh-Kha Nguyen" userId="73ea909082ace275" providerId="LiveId" clId="{B1554112-6404-403C-A743-7FE3323E2177}" dt="2020-04-04T18:20:09.560" v="3748"/>
          <ac:picMkLst>
            <pc:docMk/>
            <pc:sldMk cId="2645115875" sldId="339"/>
            <ac:picMk id="11" creationId="{46863EAF-0719-4243-A7E2-FB40AD0362D1}"/>
          </ac:picMkLst>
        </pc:picChg>
        <pc:picChg chg="add del mod ord">
          <ac:chgData name="Minh-Kha Nguyen" userId="73ea909082ace275" providerId="LiveId" clId="{B1554112-6404-403C-A743-7FE3323E2177}" dt="2020-04-04T17:59:02.387" v="2612" actId="478"/>
          <ac:picMkLst>
            <pc:docMk/>
            <pc:sldMk cId="2645115875" sldId="339"/>
            <ac:picMk id="12" creationId="{FB7108C9-0941-4FA3-917B-43C7609C7A44}"/>
          </ac:picMkLst>
        </pc:picChg>
        <pc:picChg chg="add del mod ord">
          <ac:chgData name="Minh-Kha Nguyen" userId="73ea909082ace275" providerId="LiveId" clId="{B1554112-6404-403C-A743-7FE3323E2177}" dt="2020-04-04T17:59:04.161" v="2613" actId="478"/>
          <ac:picMkLst>
            <pc:docMk/>
            <pc:sldMk cId="2645115875" sldId="339"/>
            <ac:picMk id="16" creationId="{D3AE2CC7-C42A-469E-9480-86F887268CC4}"/>
          </ac:picMkLst>
        </pc:picChg>
        <pc:picChg chg="add del mod ord">
          <ac:chgData name="Minh-Kha Nguyen" userId="73ea909082ace275" providerId="LiveId" clId="{B1554112-6404-403C-A743-7FE3323E2177}" dt="2020-04-04T20:20:33.040" v="7110" actId="478"/>
          <ac:picMkLst>
            <pc:docMk/>
            <pc:sldMk cId="2645115875" sldId="339"/>
            <ac:picMk id="17" creationId="{2F606D26-F79F-4D99-B07C-3C3AAF0FA74A}"/>
          </ac:picMkLst>
        </pc:picChg>
        <pc:picChg chg="add del mod ord">
          <ac:chgData name="Minh-Kha Nguyen" userId="73ea909082ace275" providerId="LiveId" clId="{B1554112-6404-403C-A743-7FE3323E2177}" dt="2020-04-04T20:20:34.893" v="7111" actId="478"/>
          <ac:picMkLst>
            <pc:docMk/>
            <pc:sldMk cId="2645115875" sldId="339"/>
            <ac:picMk id="18" creationId="{5124EB5F-3FAA-451C-A6A9-3984A075296B}"/>
          </ac:picMkLst>
        </pc:picChg>
        <pc:picChg chg="add mod">
          <ac:chgData name="Minh-Kha Nguyen" userId="73ea909082ace275" providerId="LiveId" clId="{B1554112-6404-403C-A743-7FE3323E2177}" dt="2020-04-04T19:14:07.474" v="4470" actId="1036"/>
          <ac:picMkLst>
            <pc:docMk/>
            <pc:sldMk cId="2645115875" sldId="339"/>
            <ac:picMk id="35" creationId="{3517D293-771F-40C1-8F89-E689A746D6CF}"/>
          </ac:picMkLst>
        </pc:picChg>
        <pc:picChg chg="add del mod">
          <ac:chgData name="Minh-Kha Nguyen" userId="73ea909082ace275" providerId="LiveId" clId="{B1554112-6404-403C-A743-7FE3323E2177}" dt="2020-04-04T20:10:29.572" v="6521" actId="21"/>
          <ac:picMkLst>
            <pc:docMk/>
            <pc:sldMk cId="2645115875" sldId="339"/>
            <ac:picMk id="36" creationId="{7F43C22B-FF91-4C87-AAAE-AAA3E8200386}"/>
          </ac:picMkLst>
        </pc:picChg>
        <pc:picChg chg="add">
          <ac:chgData name="Minh-Kha Nguyen" userId="73ea909082ace275" providerId="LiveId" clId="{B1554112-6404-403C-A743-7FE3323E2177}" dt="2020-04-04T20:11:31.835" v="6560"/>
          <ac:picMkLst>
            <pc:docMk/>
            <pc:sldMk cId="2645115875" sldId="339"/>
            <ac:picMk id="37" creationId="{4587E3FD-74D6-4988-825D-B314F44354B6}"/>
          </ac:picMkLst>
        </pc:picChg>
      </pc:sldChg>
      <pc:sldChg chg="addSp delSp modSp add del mod modAnim">
        <pc:chgData name="Minh-Kha Nguyen" userId="73ea909082ace275" providerId="LiveId" clId="{B1554112-6404-403C-A743-7FE3323E2177}" dt="2020-04-04T19:34:58.361" v="5715" actId="47"/>
        <pc:sldMkLst>
          <pc:docMk/>
          <pc:sldMk cId="2838709851" sldId="340"/>
        </pc:sldMkLst>
        <pc:spChg chg="mod ord">
          <ac:chgData name="Minh-Kha Nguyen" userId="73ea909082ace275" providerId="LiveId" clId="{B1554112-6404-403C-A743-7FE3323E2177}" dt="2020-04-04T18:20:42.396" v="3853"/>
          <ac:spMkLst>
            <pc:docMk/>
            <pc:sldMk cId="2838709851" sldId="340"/>
            <ac:spMk id="2" creationId="{16E0F010-D42B-41EF-9A76-EA4A5F1FFE2A}"/>
          </ac:spMkLst>
        </pc:spChg>
        <pc:spChg chg="add mod ord">
          <ac:chgData name="Minh-Kha Nguyen" userId="73ea909082ace275" providerId="LiveId" clId="{B1554112-6404-403C-A743-7FE3323E2177}" dt="2020-04-04T18:20:42.397" v="3855"/>
          <ac:spMkLst>
            <pc:docMk/>
            <pc:sldMk cId="2838709851" sldId="340"/>
            <ac:spMk id="15" creationId="{3DF4F09F-C4CA-4228-8DB2-863E4570899C}"/>
          </ac:spMkLst>
        </pc:spChg>
        <pc:grpChg chg="add mod">
          <ac:chgData name="Minh-Kha Nguyen" userId="73ea909082ace275" providerId="LiveId" clId="{B1554112-6404-403C-A743-7FE3323E2177}" dt="2020-04-04T17:54:46.034" v="2423" actId="164"/>
          <ac:grpSpMkLst>
            <pc:docMk/>
            <pc:sldMk cId="2838709851" sldId="340"/>
            <ac:grpSpMk id="13" creationId="{20AB2FC0-EC11-40FA-9D27-96E0CE06FA91}"/>
          </ac:grpSpMkLst>
        </pc:grpChg>
        <pc:grpChg chg="add del mod ord">
          <ac:chgData name="Minh-Kha Nguyen" userId="73ea909082ace275" providerId="LiveId" clId="{B1554112-6404-403C-A743-7FE3323E2177}" dt="2020-04-04T19:29:28.302" v="5588" actId="478"/>
          <ac:grpSpMkLst>
            <pc:docMk/>
            <pc:sldMk cId="2838709851" sldId="340"/>
            <ac:grpSpMk id="20" creationId="{8E8BA775-A437-4D83-A6A0-DBF82654F7B0}"/>
          </ac:grpSpMkLst>
        </pc:grpChg>
        <pc:graphicFrameChg chg="mod ord">
          <ac:chgData name="Minh-Kha Nguyen" userId="73ea909082ace275" providerId="LiveId" clId="{B1554112-6404-403C-A743-7FE3323E2177}" dt="2020-04-04T18:20:42.409" v="3869"/>
          <ac:graphicFrameMkLst>
            <pc:docMk/>
            <pc:sldMk cId="2838709851" sldId="340"/>
            <ac:graphicFrameMk id="4" creationId="{0335BD31-9BEB-4951-908E-6DF29B0B511F}"/>
          </ac:graphicFrameMkLst>
        </pc:graphicFrameChg>
        <pc:picChg chg="add mod ord">
          <ac:chgData name="Minh-Kha Nguyen" userId="73ea909082ace275" providerId="LiveId" clId="{B1554112-6404-403C-A743-7FE3323E2177}" dt="2020-04-04T18:20:42.391" v="3839"/>
          <ac:picMkLst>
            <pc:docMk/>
            <pc:sldMk cId="2838709851" sldId="340"/>
            <ac:picMk id="3" creationId="{AEC7FCCD-3FA7-4847-A7A7-279B31EDA771}"/>
          </ac:picMkLst>
        </pc:picChg>
        <pc:picChg chg="del mod ord">
          <ac:chgData name="Minh-Kha Nguyen" userId="73ea909082ace275" providerId="LiveId" clId="{B1554112-6404-403C-A743-7FE3323E2177}" dt="2020-04-04T19:29:35.490" v="5591" actId="478"/>
          <ac:picMkLst>
            <pc:docMk/>
            <pc:sldMk cId="2838709851" sldId="340"/>
            <ac:picMk id="5" creationId="{5A919BC2-87B9-41EA-90BB-BAC6E8B22F57}"/>
          </ac:picMkLst>
        </pc:picChg>
        <pc:picChg chg="mod ord">
          <ac:chgData name="Minh-Kha Nguyen" userId="73ea909082ace275" providerId="LiveId" clId="{B1554112-6404-403C-A743-7FE3323E2177}" dt="2020-04-04T18:20:42.392" v="3843"/>
          <ac:picMkLst>
            <pc:docMk/>
            <pc:sldMk cId="2838709851" sldId="340"/>
            <ac:picMk id="6" creationId="{182F4DCE-3821-4CD2-9A16-8FB1B79D4BB7}"/>
          </ac:picMkLst>
        </pc:picChg>
        <pc:picChg chg="del mod ord">
          <ac:chgData name="Minh-Kha Nguyen" userId="73ea909082ace275" providerId="LiveId" clId="{B1554112-6404-403C-A743-7FE3323E2177}" dt="2020-04-04T19:29:33.650" v="5590" actId="478"/>
          <ac:picMkLst>
            <pc:docMk/>
            <pc:sldMk cId="2838709851" sldId="340"/>
            <ac:picMk id="7" creationId="{649370CD-2285-44A3-AFB6-302A110A5976}"/>
          </ac:picMkLst>
        </pc:picChg>
        <pc:picChg chg="del mod ord">
          <ac:chgData name="Minh-Kha Nguyen" userId="73ea909082ace275" providerId="LiveId" clId="{B1554112-6404-403C-A743-7FE3323E2177}" dt="2020-04-04T19:29:33.650" v="5590" actId="478"/>
          <ac:picMkLst>
            <pc:docMk/>
            <pc:sldMk cId="2838709851" sldId="340"/>
            <ac:picMk id="8" creationId="{A66BDBAE-A47C-46E9-8D95-1BE1D22E4710}"/>
          </ac:picMkLst>
        </pc:picChg>
        <pc:picChg chg="del mod ord">
          <ac:chgData name="Minh-Kha Nguyen" userId="73ea909082ace275" providerId="LiveId" clId="{B1554112-6404-403C-A743-7FE3323E2177}" dt="2020-04-04T19:29:33.650" v="5590" actId="478"/>
          <ac:picMkLst>
            <pc:docMk/>
            <pc:sldMk cId="2838709851" sldId="340"/>
            <ac:picMk id="9" creationId="{67D3DF17-80E0-4473-BD89-D7E7E8423929}"/>
          </ac:picMkLst>
        </pc:picChg>
        <pc:picChg chg="del mod ord">
          <ac:chgData name="Minh-Kha Nguyen" userId="73ea909082ace275" providerId="LiveId" clId="{B1554112-6404-403C-A743-7FE3323E2177}" dt="2020-04-04T19:29:33.650" v="5590" actId="478"/>
          <ac:picMkLst>
            <pc:docMk/>
            <pc:sldMk cId="2838709851" sldId="340"/>
            <ac:picMk id="10" creationId="{82BCAAF5-44F3-4C8A-BE13-C117EBC77718}"/>
          </ac:picMkLst>
        </pc:picChg>
        <pc:picChg chg="del mod ord">
          <ac:chgData name="Minh-Kha Nguyen" userId="73ea909082ace275" providerId="LiveId" clId="{B1554112-6404-403C-A743-7FE3323E2177}" dt="2020-04-04T17:57:49.565" v="2520" actId="478"/>
          <ac:picMkLst>
            <pc:docMk/>
            <pc:sldMk cId="2838709851" sldId="340"/>
            <ac:picMk id="11" creationId="{46863EAF-0719-4243-A7E2-FB40AD0362D1}"/>
          </ac:picMkLst>
        </pc:picChg>
        <pc:picChg chg="add mod ord">
          <ac:chgData name="Minh-Kha Nguyen" userId="73ea909082ace275" providerId="LiveId" clId="{B1554112-6404-403C-A743-7FE3323E2177}" dt="2020-04-04T18:20:42.390" v="3837"/>
          <ac:picMkLst>
            <pc:docMk/>
            <pc:sldMk cId="2838709851" sldId="340"/>
            <ac:picMk id="12" creationId="{8378D66C-0777-4D9A-B01F-C789E9D37FFC}"/>
          </ac:picMkLst>
        </pc:picChg>
        <pc:picChg chg="add del mod">
          <ac:chgData name="Minh-Kha Nguyen" userId="73ea909082ace275" providerId="LiveId" clId="{B1554112-6404-403C-A743-7FE3323E2177}" dt="2020-04-04T18:06:23.694" v="2941" actId="478"/>
          <ac:picMkLst>
            <pc:docMk/>
            <pc:sldMk cId="2838709851" sldId="340"/>
            <ac:picMk id="14" creationId="{E53FAAA5-14FA-417A-BD8C-29C837E22C38}"/>
          </ac:picMkLst>
        </pc:picChg>
        <pc:picChg chg="add del mod ord">
          <ac:chgData name="Minh-Kha Nguyen" userId="73ea909082ace275" providerId="LiveId" clId="{B1554112-6404-403C-A743-7FE3323E2177}" dt="2020-04-04T19:30:20.300" v="5594" actId="21"/>
          <ac:picMkLst>
            <pc:docMk/>
            <pc:sldMk cId="2838709851" sldId="340"/>
            <ac:picMk id="16" creationId="{E3B11906-D61B-481B-BE19-FF84468D3593}"/>
          </ac:picMkLst>
        </pc:picChg>
        <pc:picChg chg="add del mod ord">
          <ac:chgData name="Minh-Kha Nguyen" userId="73ea909082ace275" providerId="LiveId" clId="{B1554112-6404-403C-A743-7FE3323E2177}" dt="2020-04-04T19:30:20.300" v="5594" actId="21"/>
          <ac:picMkLst>
            <pc:docMk/>
            <pc:sldMk cId="2838709851" sldId="340"/>
            <ac:picMk id="17" creationId="{D8B8AC4A-69CE-4829-871D-75EC6B4F0355}"/>
          </ac:picMkLst>
        </pc:picChg>
        <pc:picChg chg="add del mod ord">
          <ac:chgData name="Minh-Kha Nguyen" userId="73ea909082ace275" providerId="LiveId" clId="{B1554112-6404-403C-A743-7FE3323E2177}" dt="2020-04-04T19:30:20.300" v="5594" actId="21"/>
          <ac:picMkLst>
            <pc:docMk/>
            <pc:sldMk cId="2838709851" sldId="340"/>
            <ac:picMk id="18" creationId="{6B63E85E-832D-4680-BE09-7E52A6085E1C}"/>
          </ac:picMkLst>
        </pc:picChg>
        <pc:picChg chg="add del mod ord">
          <ac:chgData name="Minh-Kha Nguyen" userId="73ea909082ace275" providerId="LiveId" clId="{B1554112-6404-403C-A743-7FE3323E2177}" dt="2020-04-04T19:30:20.300" v="5594" actId="21"/>
          <ac:picMkLst>
            <pc:docMk/>
            <pc:sldMk cId="2838709851" sldId="340"/>
            <ac:picMk id="19" creationId="{92C7CCFE-C088-433C-B169-5B228297B6FA}"/>
          </ac:picMkLst>
        </pc:picChg>
        <pc:picChg chg="add del mod ord">
          <ac:chgData name="Minh-Kha Nguyen" userId="73ea909082ace275" providerId="LiveId" clId="{B1554112-6404-403C-A743-7FE3323E2177}" dt="2020-04-04T19:29:30.446" v="5589" actId="478"/>
          <ac:picMkLst>
            <pc:docMk/>
            <pc:sldMk cId="2838709851" sldId="340"/>
            <ac:picMk id="35" creationId="{EC40A9A6-A474-42D2-97BE-5EDF514CE5B4}"/>
          </ac:picMkLst>
        </pc:picChg>
      </pc:sldChg>
      <pc:sldChg chg="addSp delSp add del mod delAnim">
        <pc:chgData name="Minh-Kha Nguyen" userId="73ea909082ace275" providerId="LiveId" clId="{B1554112-6404-403C-A743-7FE3323E2177}" dt="2020-04-04T19:34:58.361" v="5715" actId="47"/>
        <pc:sldMkLst>
          <pc:docMk/>
          <pc:sldMk cId="3974791333" sldId="341"/>
        </pc:sldMkLst>
        <pc:spChg chg="del">
          <ac:chgData name="Minh-Kha Nguyen" userId="73ea909082ace275" providerId="LiveId" clId="{B1554112-6404-403C-A743-7FE3323E2177}" dt="2020-04-04T18:02:12.071" v="2922" actId="478"/>
          <ac:spMkLst>
            <pc:docMk/>
            <pc:sldMk cId="3974791333" sldId="341"/>
            <ac:spMk id="15" creationId="{3DF4F09F-C4CA-4228-8DB2-863E4570899C}"/>
          </ac:spMkLst>
        </pc:spChg>
        <pc:spChg chg="add">
          <ac:chgData name="Minh-Kha Nguyen" userId="73ea909082ace275" providerId="LiveId" clId="{B1554112-6404-403C-A743-7FE3323E2177}" dt="2020-04-04T18:12:13.264" v="3141"/>
          <ac:spMkLst>
            <pc:docMk/>
            <pc:sldMk cId="3974791333" sldId="341"/>
            <ac:spMk id="16" creationId="{F677881B-92CF-4392-9EE3-C1231EC8F2DD}"/>
          </ac:spMkLst>
        </pc:spChg>
        <pc:picChg chg="del">
          <ac:chgData name="Minh-Kha Nguyen" userId="73ea909082ace275" providerId="LiveId" clId="{B1554112-6404-403C-A743-7FE3323E2177}" dt="2020-04-04T18:02:13.835" v="2923" actId="478"/>
          <ac:picMkLst>
            <pc:docMk/>
            <pc:sldMk cId="3974791333" sldId="341"/>
            <ac:picMk id="3" creationId="{AEC7FCCD-3FA7-4847-A7A7-279B31EDA771}"/>
          </ac:picMkLst>
        </pc:picChg>
        <pc:picChg chg="del">
          <ac:chgData name="Minh-Kha Nguyen" userId="73ea909082ace275" providerId="LiveId" clId="{B1554112-6404-403C-A743-7FE3323E2177}" dt="2020-04-04T18:06:28.521" v="2942" actId="478"/>
          <ac:picMkLst>
            <pc:docMk/>
            <pc:sldMk cId="3974791333" sldId="341"/>
            <ac:picMk id="14" creationId="{E53FAAA5-14FA-417A-BD8C-29C837E22C38}"/>
          </ac:picMkLst>
        </pc:picChg>
      </pc:sldChg>
      <pc:sldChg chg="add del">
        <pc:chgData name="Minh-Kha Nguyen" userId="73ea909082ace275" providerId="LiveId" clId="{B1554112-6404-403C-A743-7FE3323E2177}" dt="2020-04-04T18:18:34.180" v="3363" actId="47"/>
        <pc:sldMkLst>
          <pc:docMk/>
          <pc:sldMk cId="179407122" sldId="342"/>
        </pc:sldMkLst>
      </pc:sldChg>
      <pc:sldChg chg="addSp delSp modSp add del mod">
        <pc:chgData name="Minh-Kha Nguyen" userId="73ea909082ace275" providerId="LiveId" clId="{B1554112-6404-403C-A743-7FE3323E2177}" dt="2020-04-04T19:29:23.641" v="5587" actId="47"/>
        <pc:sldMkLst>
          <pc:docMk/>
          <pc:sldMk cId="4243119332" sldId="343"/>
        </pc:sldMkLst>
        <pc:spChg chg="mod ord">
          <ac:chgData name="Minh-Kha Nguyen" userId="73ea909082ace275" providerId="LiveId" clId="{B1554112-6404-403C-A743-7FE3323E2177}" dt="2020-04-04T18:19:24.708" v="3595"/>
          <ac:spMkLst>
            <pc:docMk/>
            <pc:sldMk cId="4243119332" sldId="343"/>
            <ac:spMk id="2" creationId="{16E0F010-D42B-41EF-9A76-EA4A5F1FFE2A}"/>
          </ac:spMkLst>
        </pc:spChg>
        <pc:spChg chg="add mod ord">
          <ac:chgData name="Minh-Kha Nguyen" userId="73ea909082ace275" providerId="LiveId" clId="{B1554112-6404-403C-A743-7FE3323E2177}" dt="2020-04-04T18:18:01.404" v="3362" actId="164"/>
          <ac:spMkLst>
            <pc:docMk/>
            <pc:sldMk cId="4243119332" sldId="343"/>
            <ac:spMk id="3" creationId="{6DEB6DB8-DDA2-4DA5-9C2D-EBC206747E46}"/>
          </ac:spMkLst>
        </pc:spChg>
        <pc:spChg chg="add mod">
          <ac:chgData name="Minh-Kha Nguyen" userId="73ea909082ace275" providerId="LiveId" clId="{B1554112-6404-403C-A743-7FE3323E2177}" dt="2020-04-04T18:18:01.404" v="3362" actId="164"/>
          <ac:spMkLst>
            <pc:docMk/>
            <pc:sldMk cId="4243119332" sldId="343"/>
            <ac:spMk id="12" creationId="{BBE86D9C-9CA7-435A-AE73-332DA5AC1218}"/>
          </ac:spMkLst>
        </pc:spChg>
        <pc:spChg chg="add del mod ord">
          <ac:chgData name="Minh-Kha Nguyen" userId="73ea909082ace275" providerId="LiveId" clId="{B1554112-6404-403C-A743-7FE3323E2177}" dt="2020-04-04T18:12:09.534" v="3140" actId="21"/>
          <ac:spMkLst>
            <pc:docMk/>
            <pc:sldMk cId="4243119332" sldId="343"/>
            <ac:spMk id="13" creationId="{E662BAE2-5A64-427B-9734-F60E10EE596D}"/>
          </ac:spMkLst>
        </pc:spChg>
        <pc:spChg chg="add mod">
          <ac:chgData name="Minh-Kha Nguyen" userId="73ea909082ace275" providerId="LiveId" clId="{B1554112-6404-403C-A743-7FE3323E2177}" dt="2020-04-04T18:18:01.404" v="3362" actId="164"/>
          <ac:spMkLst>
            <pc:docMk/>
            <pc:sldMk cId="4243119332" sldId="343"/>
            <ac:spMk id="21" creationId="{EFFBF906-5ED4-423F-B13A-E1527780AA48}"/>
          </ac:spMkLst>
        </pc:spChg>
        <pc:spChg chg="add mod">
          <ac:chgData name="Minh-Kha Nguyen" userId="73ea909082ace275" providerId="LiveId" clId="{B1554112-6404-403C-A743-7FE3323E2177}" dt="2020-04-04T18:18:01.404" v="3362" actId="164"/>
          <ac:spMkLst>
            <pc:docMk/>
            <pc:sldMk cId="4243119332" sldId="343"/>
            <ac:spMk id="22" creationId="{975CA341-CD0D-4021-AC15-09CCB0C7031D}"/>
          </ac:spMkLst>
        </pc:spChg>
        <pc:spChg chg="add mod">
          <ac:chgData name="Minh-Kha Nguyen" userId="73ea909082ace275" providerId="LiveId" clId="{B1554112-6404-403C-A743-7FE3323E2177}" dt="2020-04-04T18:18:01.404" v="3362" actId="164"/>
          <ac:spMkLst>
            <pc:docMk/>
            <pc:sldMk cId="4243119332" sldId="343"/>
            <ac:spMk id="23" creationId="{3F7B364C-6A9B-44A7-A982-34FA844C079C}"/>
          </ac:spMkLst>
        </pc:spChg>
        <pc:spChg chg="add mod">
          <ac:chgData name="Minh-Kha Nguyen" userId="73ea909082ace275" providerId="LiveId" clId="{B1554112-6404-403C-A743-7FE3323E2177}" dt="2020-04-04T18:17:37.086" v="3349" actId="164"/>
          <ac:spMkLst>
            <pc:docMk/>
            <pc:sldMk cId="4243119332" sldId="343"/>
            <ac:spMk id="29" creationId="{DFCC2B10-2515-414F-A38F-08C8D9A2AB7B}"/>
          </ac:spMkLst>
        </pc:spChg>
        <pc:spChg chg="add mod">
          <ac:chgData name="Minh-Kha Nguyen" userId="73ea909082ace275" providerId="LiveId" clId="{B1554112-6404-403C-A743-7FE3323E2177}" dt="2020-04-04T18:17:37.086" v="3349" actId="164"/>
          <ac:spMkLst>
            <pc:docMk/>
            <pc:sldMk cId="4243119332" sldId="343"/>
            <ac:spMk id="30" creationId="{9278599F-CCBF-46CB-B224-B224299A77F9}"/>
          </ac:spMkLst>
        </pc:spChg>
        <pc:grpChg chg="add mod">
          <ac:chgData name="Minh-Kha Nguyen" userId="73ea909082ace275" providerId="LiveId" clId="{B1554112-6404-403C-A743-7FE3323E2177}" dt="2020-04-04T18:18:01.404" v="3362" actId="164"/>
          <ac:grpSpMkLst>
            <pc:docMk/>
            <pc:sldMk cId="4243119332" sldId="343"/>
            <ac:grpSpMk id="31" creationId="{62CC1BD6-921A-4067-8199-E99B993F64C5}"/>
          </ac:grpSpMkLst>
        </pc:grpChg>
        <pc:grpChg chg="add mod ord">
          <ac:chgData name="Minh-Kha Nguyen" userId="73ea909082ace275" providerId="LiveId" clId="{B1554112-6404-403C-A743-7FE3323E2177}" dt="2020-04-04T18:19:24.705" v="3589"/>
          <ac:grpSpMkLst>
            <pc:docMk/>
            <pc:sldMk cId="4243119332" sldId="343"/>
            <ac:grpSpMk id="32" creationId="{58EDBBC4-818B-4220-A7DA-788EAC868365}"/>
          </ac:grpSpMkLst>
        </pc:grpChg>
        <pc:graphicFrameChg chg="mod ord">
          <ac:chgData name="Minh-Kha Nguyen" userId="73ea909082ace275" providerId="LiveId" clId="{B1554112-6404-403C-A743-7FE3323E2177}" dt="2020-04-04T18:19:24.710" v="3597"/>
          <ac:graphicFrameMkLst>
            <pc:docMk/>
            <pc:sldMk cId="4243119332" sldId="343"/>
            <ac:graphicFrameMk id="4" creationId="{0335BD31-9BEB-4951-908E-6DF29B0B511F}"/>
          </ac:graphicFrameMkLst>
        </pc:graphicFrameChg>
        <pc:picChg chg="mod ord">
          <ac:chgData name="Minh-Kha Nguyen" userId="73ea909082ace275" providerId="LiveId" clId="{B1554112-6404-403C-A743-7FE3323E2177}" dt="2020-04-04T18:19:24.694" v="3575"/>
          <ac:picMkLst>
            <pc:docMk/>
            <pc:sldMk cId="4243119332" sldId="343"/>
            <ac:picMk id="5" creationId="{5A919BC2-87B9-41EA-90BB-BAC6E8B22F57}"/>
          </ac:picMkLst>
        </pc:picChg>
        <pc:picChg chg="mod ord">
          <ac:chgData name="Minh-Kha Nguyen" userId="73ea909082ace275" providerId="LiveId" clId="{B1554112-6404-403C-A743-7FE3323E2177}" dt="2020-04-04T18:19:24.707" v="3593"/>
          <ac:picMkLst>
            <pc:docMk/>
            <pc:sldMk cId="4243119332" sldId="343"/>
            <ac:picMk id="6" creationId="{182F4DCE-3821-4CD2-9A16-8FB1B79D4BB7}"/>
          </ac:picMkLst>
        </pc:picChg>
        <pc:picChg chg="mod ord">
          <ac:chgData name="Minh-Kha Nguyen" userId="73ea909082ace275" providerId="LiveId" clId="{B1554112-6404-403C-A743-7FE3323E2177}" dt="2020-04-04T18:19:24.695" v="3577"/>
          <ac:picMkLst>
            <pc:docMk/>
            <pc:sldMk cId="4243119332" sldId="343"/>
            <ac:picMk id="7" creationId="{649370CD-2285-44A3-AFB6-302A110A5976}"/>
          </ac:picMkLst>
        </pc:picChg>
        <pc:picChg chg="mod ord">
          <ac:chgData name="Minh-Kha Nguyen" userId="73ea909082ace275" providerId="LiveId" clId="{B1554112-6404-403C-A743-7FE3323E2177}" dt="2020-04-04T18:19:24.696" v="3579"/>
          <ac:picMkLst>
            <pc:docMk/>
            <pc:sldMk cId="4243119332" sldId="343"/>
            <ac:picMk id="8" creationId="{A66BDBAE-A47C-46E9-8D95-1BE1D22E4710}"/>
          </ac:picMkLst>
        </pc:picChg>
        <pc:picChg chg="mod ord">
          <ac:chgData name="Minh-Kha Nguyen" userId="73ea909082ace275" providerId="LiveId" clId="{B1554112-6404-403C-A743-7FE3323E2177}" dt="2020-04-04T18:19:24.697" v="3581"/>
          <ac:picMkLst>
            <pc:docMk/>
            <pc:sldMk cId="4243119332" sldId="343"/>
            <ac:picMk id="9" creationId="{67D3DF17-80E0-4473-BD89-D7E7E8423929}"/>
          </ac:picMkLst>
        </pc:picChg>
        <pc:picChg chg="mod ord">
          <ac:chgData name="Minh-Kha Nguyen" userId="73ea909082ace275" providerId="LiveId" clId="{B1554112-6404-403C-A743-7FE3323E2177}" dt="2020-04-04T18:19:24.698" v="3583"/>
          <ac:picMkLst>
            <pc:docMk/>
            <pc:sldMk cId="4243119332" sldId="343"/>
            <ac:picMk id="10" creationId="{82BCAAF5-44F3-4C8A-BE13-C117EBC77718}"/>
          </ac:picMkLst>
        </pc:picChg>
        <pc:picChg chg="del">
          <ac:chgData name="Minh-Kha Nguyen" userId="73ea909082ace275" providerId="LiveId" clId="{B1554112-6404-403C-A743-7FE3323E2177}" dt="2020-04-04T18:08:52.569" v="2985" actId="478"/>
          <ac:picMkLst>
            <pc:docMk/>
            <pc:sldMk cId="4243119332" sldId="343"/>
            <ac:picMk id="11" creationId="{46863EAF-0719-4243-A7E2-FB40AD0362D1}"/>
          </ac:picMkLst>
        </pc:picChg>
        <pc:picChg chg="add mod ord">
          <ac:chgData name="Minh-Kha Nguyen" userId="73ea909082ace275" providerId="LiveId" clId="{B1554112-6404-403C-A743-7FE3323E2177}" dt="2020-04-04T18:18:01.404" v="3362" actId="164"/>
          <ac:picMkLst>
            <pc:docMk/>
            <pc:sldMk cId="4243119332" sldId="343"/>
            <ac:picMk id="14" creationId="{A7C4055B-A853-4F58-A49E-3B234CC66712}"/>
          </ac:picMkLst>
        </pc:picChg>
        <pc:picChg chg="add del mod ord">
          <ac:chgData name="Minh-Kha Nguyen" userId="73ea909082ace275" providerId="LiveId" clId="{B1554112-6404-403C-A743-7FE3323E2177}" dt="2020-04-04T18:11:51.001" v="3135" actId="478"/>
          <ac:picMkLst>
            <pc:docMk/>
            <pc:sldMk cId="4243119332" sldId="343"/>
            <ac:picMk id="15" creationId="{A08D8AB9-00AA-4A23-B0F1-6A361811DCF1}"/>
          </ac:picMkLst>
        </pc:picChg>
        <pc:picChg chg="add del mod ord">
          <ac:chgData name="Minh-Kha Nguyen" userId="73ea909082ace275" providerId="LiveId" clId="{B1554112-6404-403C-A743-7FE3323E2177}" dt="2020-04-04T18:11:51.001" v="3135" actId="478"/>
          <ac:picMkLst>
            <pc:docMk/>
            <pc:sldMk cId="4243119332" sldId="343"/>
            <ac:picMk id="16" creationId="{AA3F3A74-4C63-4A3B-96F9-3FA309415B19}"/>
          </ac:picMkLst>
        </pc:picChg>
        <pc:picChg chg="mod ord">
          <ac:chgData name="Minh-Kha Nguyen" userId="73ea909082ace275" providerId="LiveId" clId="{B1554112-6404-403C-A743-7FE3323E2177}" dt="2020-04-04T18:19:48.602" v="3724" actId="1036"/>
          <ac:picMkLst>
            <pc:docMk/>
            <pc:sldMk cId="4243119332" sldId="343"/>
            <ac:picMk id="17" creationId="{2F606D26-F79F-4D99-B07C-3C3AAF0FA74A}"/>
          </ac:picMkLst>
        </pc:picChg>
        <pc:picChg chg="mod ord">
          <ac:chgData name="Minh-Kha Nguyen" userId="73ea909082ace275" providerId="LiveId" clId="{B1554112-6404-403C-A743-7FE3323E2177}" dt="2020-04-04T18:19:48.602" v="3724" actId="1036"/>
          <ac:picMkLst>
            <pc:docMk/>
            <pc:sldMk cId="4243119332" sldId="343"/>
            <ac:picMk id="18" creationId="{5124EB5F-3FAA-451C-A6A9-3984A075296B}"/>
          </ac:picMkLst>
        </pc:picChg>
        <pc:picChg chg="add mod">
          <ac:chgData name="Minh-Kha Nguyen" userId="73ea909082ace275" providerId="LiveId" clId="{B1554112-6404-403C-A743-7FE3323E2177}" dt="2020-04-04T18:18:01.404" v="3362" actId="164"/>
          <ac:picMkLst>
            <pc:docMk/>
            <pc:sldMk cId="4243119332" sldId="343"/>
            <ac:picMk id="19" creationId="{A03E9421-85C9-46F8-A503-6F643EBFF533}"/>
          </ac:picMkLst>
        </pc:picChg>
        <pc:picChg chg="add del mod">
          <ac:chgData name="Minh-Kha Nguyen" userId="73ea909082ace275" providerId="LiveId" clId="{B1554112-6404-403C-A743-7FE3323E2177}" dt="2020-04-04T18:11:51.001" v="3135" actId="478"/>
          <ac:picMkLst>
            <pc:docMk/>
            <pc:sldMk cId="4243119332" sldId="343"/>
            <ac:picMk id="20" creationId="{08500657-E762-47C1-9E4B-95E945ADD16B}"/>
          </ac:picMkLst>
        </pc:picChg>
        <pc:picChg chg="add mod">
          <ac:chgData name="Minh-Kha Nguyen" userId="73ea909082ace275" providerId="LiveId" clId="{B1554112-6404-403C-A743-7FE3323E2177}" dt="2020-04-04T18:18:01.404" v="3362" actId="164"/>
          <ac:picMkLst>
            <pc:docMk/>
            <pc:sldMk cId="4243119332" sldId="343"/>
            <ac:picMk id="25" creationId="{3956B96F-F504-4B5B-8062-E94A74DF3707}"/>
          </ac:picMkLst>
        </pc:picChg>
        <pc:picChg chg="add mod">
          <ac:chgData name="Minh-Kha Nguyen" userId="73ea909082ace275" providerId="LiveId" clId="{B1554112-6404-403C-A743-7FE3323E2177}" dt="2020-04-04T18:18:01.404" v="3362" actId="164"/>
          <ac:picMkLst>
            <pc:docMk/>
            <pc:sldMk cId="4243119332" sldId="343"/>
            <ac:picMk id="26" creationId="{57D3D946-4FBC-440F-A5CB-F7801E225C2F}"/>
          </ac:picMkLst>
        </pc:picChg>
        <pc:picChg chg="add mod">
          <ac:chgData name="Minh-Kha Nguyen" userId="73ea909082ace275" providerId="LiveId" clId="{B1554112-6404-403C-A743-7FE3323E2177}" dt="2020-04-04T18:18:01.404" v="3362" actId="164"/>
          <ac:picMkLst>
            <pc:docMk/>
            <pc:sldMk cId="4243119332" sldId="343"/>
            <ac:picMk id="27" creationId="{B80841FB-9F44-469F-8563-9B8C4532F257}"/>
          </ac:picMkLst>
        </pc:picChg>
        <pc:picChg chg="add mod">
          <ac:chgData name="Minh-Kha Nguyen" userId="73ea909082ace275" providerId="LiveId" clId="{B1554112-6404-403C-A743-7FE3323E2177}" dt="2020-04-04T18:18:01.404" v="3362" actId="164"/>
          <ac:picMkLst>
            <pc:docMk/>
            <pc:sldMk cId="4243119332" sldId="343"/>
            <ac:picMk id="28" creationId="{F69FCF23-A6F0-4AEC-BDC8-9EBF085B67BF}"/>
          </ac:picMkLst>
        </pc:picChg>
        <pc:picChg chg="add mod ord">
          <ac:chgData name="Minh-Kha Nguyen" userId="73ea909082ace275" providerId="LiveId" clId="{B1554112-6404-403C-A743-7FE3323E2177}" dt="2020-04-04T18:19:24.706" v="3591"/>
          <ac:picMkLst>
            <pc:docMk/>
            <pc:sldMk cId="4243119332" sldId="343"/>
            <ac:picMk id="33" creationId="{A5139D77-FD26-4B1D-8C39-9B95439850CA}"/>
          </ac:picMkLst>
        </pc:picChg>
      </pc:sldChg>
      <pc:sldChg chg="addSp delSp modSp add del mod delAnim modAnim">
        <pc:chgData name="Minh-Kha Nguyen" userId="73ea909082ace275" providerId="LiveId" clId="{B1554112-6404-403C-A743-7FE3323E2177}" dt="2020-04-05T09:30:34.595" v="12480" actId="1037"/>
        <pc:sldMkLst>
          <pc:docMk/>
          <pc:sldMk cId="254265879" sldId="344"/>
        </pc:sldMkLst>
        <pc:spChg chg="mod ord">
          <ac:chgData name="Minh-Kha Nguyen" userId="73ea909082ace275" providerId="LiveId" clId="{B1554112-6404-403C-A743-7FE3323E2177}" dt="2020-04-04T19:12:07.877" v="4008"/>
          <ac:spMkLst>
            <pc:docMk/>
            <pc:sldMk cId="254265879" sldId="344"/>
            <ac:spMk id="2" creationId="{16E0F010-D42B-41EF-9A76-EA4A5F1FFE2A}"/>
          </ac:spMkLst>
        </pc:spChg>
        <pc:spChg chg="add mod">
          <ac:chgData name="Minh-Kha Nguyen" userId="73ea909082ace275" providerId="LiveId" clId="{B1554112-6404-403C-A743-7FE3323E2177}" dt="2020-04-05T09:11:20.563" v="11583" actId="1036"/>
          <ac:spMkLst>
            <pc:docMk/>
            <pc:sldMk cId="254265879" sldId="344"/>
            <ac:spMk id="7" creationId="{D1C5378E-7664-465A-B6E0-A62FDD35FBC8}"/>
          </ac:spMkLst>
        </pc:spChg>
        <pc:spChg chg="add mod">
          <ac:chgData name="Minh-Kha Nguyen" userId="73ea909082ace275" providerId="LiveId" clId="{B1554112-6404-403C-A743-7FE3323E2177}" dt="2020-04-05T09:30:34.595" v="12480" actId="1037"/>
          <ac:spMkLst>
            <pc:docMk/>
            <pc:sldMk cId="254265879" sldId="344"/>
            <ac:spMk id="16" creationId="{14559964-DEB6-49AD-91BC-5CECDE75169E}"/>
          </ac:spMkLst>
        </pc:spChg>
        <pc:spChg chg="add mod">
          <ac:chgData name="Minh-Kha Nguyen" userId="73ea909082ace275" providerId="LiveId" clId="{B1554112-6404-403C-A743-7FE3323E2177}" dt="2020-04-05T09:30:34.595" v="12480" actId="1037"/>
          <ac:spMkLst>
            <pc:docMk/>
            <pc:sldMk cId="254265879" sldId="344"/>
            <ac:spMk id="17" creationId="{4EF7CF2C-2B27-428D-8328-C142119498BA}"/>
          </ac:spMkLst>
        </pc:spChg>
        <pc:spChg chg="add mod ord topLvl">
          <ac:chgData name="Minh-Kha Nguyen" userId="73ea909082ace275" providerId="LiveId" clId="{B1554112-6404-403C-A743-7FE3323E2177}" dt="2020-04-04T19:14:21.454" v="4511" actId="165"/>
          <ac:spMkLst>
            <pc:docMk/>
            <pc:sldMk cId="254265879" sldId="344"/>
            <ac:spMk id="35" creationId="{9DF81AEC-EAA7-4428-BDE4-A751250FF651}"/>
          </ac:spMkLst>
        </pc:spChg>
        <pc:spChg chg="add mod">
          <ac:chgData name="Minh-Kha Nguyen" userId="73ea909082ace275" providerId="LiveId" clId="{B1554112-6404-403C-A743-7FE3323E2177}" dt="2020-04-04T19:12:57.466" v="4197" actId="164"/>
          <ac:spMkLst>
            <pc:docMk/>
            <pc:sldMk cId="254265879" sldId="344"/>
            <ac:spMk id="36" creationId="{822DD522-B8A8-466F-A181-61B5D4662270}"/>
          </ac:spMkLst>
        </pc:spChg>
        <pc:spChg chg="add mod">
          <ac:chgData name="Minh-Kha Nguyen" userId="73ea909082ace275" providerId="LiveId" clId="{B1554112-6404-403C-A743-7FE3323E2177}" dt="2020-04-04T19:12:57.466" v="4197" actId="164"/>
          <ac:spMkLst>
            <pc:docMk/>
            <pc:sldMk cId="254265879" sldId="344"/>
            <ac:spMk id="37" creationId="{A7B2D0CE-4CDE-4B48-B16F-1C6D61EC79B1}"/>
          </ac:spMkLst>
        </pc:spChg>
        <pc:grpChg chg="add mod topLvl">
          <ac:chgData name="Minh-Kha Nguyen" userId="73ea909082ace275" providerId="LiveId" clId="{B1554112-6404-403C-A743-7FE3323E2177}" dt="2020-04-05T09:11:26.223" v="11608" actId="1037"/>
          <ac:grpSpMkLst>
            <pc:docMk/>
            <pc:sldMk cId="254265879" sldId="344"/>
            <ac:grpSpMk id="3" creationId="{49C57089-9BB2-4837-80A5-FF456C1B264B}"/>
          </ac:grpSpMkLst>
        </pc:grpChg>
        <pc:grpChg chg="add del mod">
          <ac:chgData name="Minh-Kha Nguyen" userId="73ea909082ace275" providerId="LiveId" clId="{B1554112-6404-403C-A743-7FE3323E2177}" dt="2020-04-04T19:14:21.454" v="4511" actId="165"/>
          <ac:grpSpMkLst>
            <pc:docMk/>
            <pc:sldMk cId="254265879" sldId="344"/>
            <ac:grpSpMk id="14" creationId="{3FD7B306-8204-49BA-A390-547DD7D122C9}"/>
          </ac:grpSpMkLst>
        </pc:grpChg>
        <pc:grpChg chg="del mod ord">
          <ac:chgData name="Minh-Kha Nguyen" userId="73ea909082ace275" providerId="LiveId" clId="{B1554112-6404-403C-A743-7FE3323E2177}" dt="2020-04-04T19:37:22.358" v="5723" actId="478"/>
          <ac:grpSpMkLst>
            <pc:docMk/>
            <pc:sldMk cId="254265879" sldId="344"/>
            <ac:grpSpMk id="19" creationId="{39F4213A-FAAB-41F9-8E38-49F618C8282F}"/>
          </ac:grpSpMkLst>
        </pc:grpChg>
        <pc:graphicFrameChg chg="mod ord">
          <ac:chgData name="Minh-Kha Nguyen" userId="73ea909082ace275" providerId="LiveId" clId="{B1554112-6404-403C-A743-7FE3323E2177}" dt="2020-04-04T20:11:21.412" v="6558"/>
          <ac:graphicFrameMkLst>
            <pc:docMk/>
            <pc:sldMk cId="254265879" sldId="344"/>
            <ac:graphicFrameMk id="4" creationId="{0335BD31-9BEB-4951-908E-6DF29B0B511F}"/>
          </ac:graphicFrameMkLst>
        </pc:graphicFrameChg>
        <pc:picChg chg="mod ord">
          <ac:chgData name="Minh-Kha Nguyen" userId="73ea909082ace275" providerId="LiveId" clId="{B1554112-6404-403C-A743-7FE3323E2177}" dt="2020-04-04T19:12:07.871" v="3996"/>
          <ac:picMkLst>
            <pc:docMk/>
            <pc:sldMk cId="254265879" sldId="344"/>
            <ac:picMk id="5" creationId="{5A919BC2-87B9-41EA-90BB-BAC6E8B22F57}"/>
          </ac:picMkLst>
        </pc:picChg>
        <pc:picChg chg="mod ord">
          <ac:chgData name="Minh-Kha Nguyen" userId="73ea909082ace275" providerId="LiveId" clId="{B1554112-6404-403C-A743-7FE3323E2177}" dt="2020-04-04T19:12:07.872" v="3998"/>
          <ac:picMkLst>
            <pc:docMk/>
            <pc:sldMk cId="254265879" sldId="344"/>
            <ac:picMk id="6" creationId="{182F4DCE-3821-4CD2-9A16-8FB1B79D4BB7}"/>
          </ac:picMkLst>
        </pc:picChg>
        <pc:picChg chg="del mod ord">
          <ac:chgData name="Minh-Kha Nguyen" userId="73ea909082ace275" providerId="LiveId" clId="{B1554112-6404-403C-A743-7FE3323E2177}" dt="2020-04-04T19:37:22.358" v="5723" actId="478"/>
          <ac:picMkLst>
            <pc:docMk/>
            <pc:sldMk cId="254265879" sldId="344"/>
            <ac:picMk id="7" creationId="{649370CD-2285-44A3-AFB6-302A110A5976}"/>
          </ac:picMkLst>
        </pc:picChg>
        <pc:picChg chg="del mod ord">
          <ac:chgData name="Minh-Kha Nguyen" userId="73ea909082ace275" providerId="LiveId" clId="{B1554112-6404-403C-A743-7FE3323E2177}" dt="2020-04-04T19:37:22.358" v="5723" actId="478"/>
          <ac:picMkLst>
            <pc:docMk/>
            <pc:sldMk cId="254265879" sldId="344"/>
            <ac:picMk id="8" creationId="{A66BDBAE-A47C-46E9-8D95-1BE1D22E4710}"/>
          </ac:picMkLst>
        </pc:picChg>
        <pc:picChg chg="del mod ord">
          <ac:chgData name="Minh-Kha Nguyen" userId="73ea909082ace275" providerId="LiveId" clId="{B1554112-6404-403C-A743-7FE3323E2177}" dt="2020-04-04T19:37:22.358" v="5723" actId="478"/>
          <ac:picMkLst>
            <pc:docMk/>
            <pc:sldMk cId="254265879" sldId="344"/>
            <ac:picMk id="9" creationId="{67D3DF17-80E0-4473-BD89-D7E7E8423929}"/>
          </ac:picMkLst>
        </pc:picChg>
        <pc:picChg chg="del mod ord">
          <ac:chgData name="Minh-Kha Nguyen" userId="73ea909082ace275" providerId="LiveId" clId="{B1554112-6404-403C-A743-7FE3323E2177}" dt="2020-04-04T19:37:22.358" v="5723" actId="478"/>
          <ac:picMkLst>
            <pc:docMk/>
            <pc:sldMk cId="254265879" sldId="344"/>
            <ac:picMk id="10" creationId="{82BCAAF5-44F3-4C8A-BE13-C117EBC77718}"/>
          </ac:picMkLst>
        </pc:picChg>
        <pc:picChg chg="mod ord topLvl">
          <ac:chgData name="Minh-Kha Nguyen" userId="73ea909082ace275" providerId="LiveId" clId="{B1554112-6404-403C-A743-7FE3323E2177}" dt="2020-04-05T09:11:05.747" v="11558" actId="1037"/>
          <ac:picMkLst>
            <pc:docMk/>
            <pc:sldMk cId="254265879" sldId="344"/>
            <ac:picMk id="11" creationId="{46863EAF-0719-4243-A7E2-FB40AD0362D1}"/>
          </ac:picMkLst>
        </pc:picChg>
        <pc:picChg chg="add del mod topLvl">
          <ac:chgData name="Minh-Kha Nguyen" userId="73ea909082ace275" providerId="LiveId" clId="{B1554112-6404-403C-A743-7FE3323E2177}" dt="2020-04-05T09:11:01.083" v="11532" actId="478"/>
          <ac:picMkLst>
            <pc:docMk/>
            <pc:sldMk cId="254265879" sldId="344"/>
            <ac:picMk id="13" creationId="{3E81ECA0-1049-4F38-8AF6-D1057778B3EA}"/>
          </ac:picMkLst>
        </pc:picChg>
        <pc:picChg chg="del mod ord">
          <ac:chgData name="Minh-Kha Nguyen" userId="73ea909082ace275" providerId="LiveId" clId="{B1554112-6404-403C-A743-7FE3323E2177}" dt="2020-04-04T19:37:22.358" v="5723" actId="478"/>
          <ac:picMkLst>
            <pc:docMk/>
            <pc:sldMk cId="254265879" sldId="344"/>
            <ac:picMk id="17" creationId="{2F606D26-F79F-4D99-B07C-3C3AAF0FA74A}"/>
          </ac:picMkLst>
        </pc:picChg>
        <pc:picChg chg="del mod ord">
          <ac:chgData name="Minh-Kha Nguyen" userId="73ea909082ace275" providerId="LiveId" clId="{B1554112-6404-403C-A743-7FE3323E2177}" dt="2020-04-04T19:37:22.358" v="5723" actId="478"/>
          <ac:picMkLst>
            <pc:docMk/>
            <pc:sldMk cId="254265879" sldId="344"/>
            <ac:picMk id="18" creationId="{5124EB5F-3FAA-451C-A6A9-3984A075296B}"/>
          </ac:picMkLst>
        </pc:picChg>
        <pc:picChg chg="add mod ord">
          <ac:chgData name="Minh-Kha Nguyen" userId="73ea909082ace275" providerId="LiveId" clId="{B1554112-6404-403C-A743-7FE3323E2177}" dt="2020-04-04T19:12:07.887" v="4016"/>
          <ac:picMkLst>
            <pc:docMk/>
            <pc:sldMk cId="254265879" sldId="344"/>
            <ac:picMk id="34" creationId="{71402A5D-8B72-425C-AFC2-CBAF4CC2A399}"/>
          </ac:picMkLst>
        </pc:picChg>
        <pc:picChg chg="add del mod">
          <ac:chgData name="Minh-Kha Nguyen" userId="73ea909082ace275" providerId="LiveId" clId="{B1554112-6404-403C-A743-7FE3323E2177}" dt="2020-04-05T09:30:30.430" v="12458" actId="478"/>
          <ac:picMkLst>
            <pc:docMk/>
            <pc:sldMk cId="254265879" sldId="344"/>
            <ac:picMk id="38" creationId="{27776AD4-5C66-4DA2-8ED0-178B8A90F55E}"/>
          </ac:picMkLst>
        </pc:picChg>
        <pc:picChg chg="add del mod">
          <ac:chgData name="Minh-Kha Nguyen" userId="73ea909082ace275" providerId="LiveId" clId="{B1554112-6404-403C-A743-7FE3323E2177}" dt="2020-04-05T09:30:09.240" v="12423" actId="478"/>
          <ac:picMkLst>
            <pc:docMk/>
            <pc:sldMk cId="254265879" sldId="344"/>
            <ac:picMk id="39" creationId="{6071A322-89D2-4D58-A59D-4FD65F1AB173}"/>
          </ac:picMkLst>
        </pc:picChg>
        <pc:picChg chg="add del mod">
          <ac:chgData name="Minh-Kha Nguyen" userId="73ea909082ace275" providerId="LiveId" clId="{B1554112-6404-403C-A743-7FE3323E2177}" dt="2020-04-04T20:11:28.733" v="6559" actId="21"/>
          <ac:picMkLst>
            <pc:docMk/>
            <pc:sldMk cId="254265879" sldId="344"/>
            <ac:picMk id="40" creationId="{B2A992AE-BF16-4149-ADE4-9B5C252A6AE9}"/>
          </ac:picMkLst>
        </pc:picChg>
      </pc:sldChg>
      <pc:sldChg chg="addSp delSp modSp add mod modTransition">
        <pc:chgData name="Minh-Kha Nguyen" userId="73ea909082ace275" providerId="LiveId" clId="{B1554112-6404-403C-A743-7FE3323E2177}" dt="2020-04-05T09:29:33.393" v="12422"/>
        <pc:sldMkLst>
          <pc:docMk/>
          <pc:sldMk cId="1941551542" sldId="345"/>
        </pc:sldMkLst>
        <pc:spChg chg="mod ord">
          <ac:chgData name="Minh-Kha Nguyen" userId="73ea909082ace275" providerId="LiveId" clId="{B1554112-6404-403C-A743-7FE3323E2177}" dt="2020-04-04T20:18:23.512" v="6922"/>
          <ac:spMkLst>
            <pc:docMk/>
            <pc:sldMk cId="1941551542" sldId="345"/>
            <ac:spMk id="2" creationId="{16E0F010-D42B-41EF-9A76-EA4A5F1FFE2A}"/>
          </ac:spMkLst>
        </pc:spChg>
        <pc:spChg chg="mod topLvl">
          <ac:chgData name="Minh-Kha Nguyen" userId="73ea909082ace275" providerId="LiveId" clId="{B1554112-6404-403C-A743-7FE3323E2177}" dt="2020-04-05T09:26:26.188" v="12318" actId="1035"/>
          <ac:spMkLst>
            <pc:docMk/>
            <pc:sldMk cId="1941551542" sldId="345"/>
            <ac:spMk id="8" creationId="{E39A87B4-C3D0-489D-9F1D-A532A3EB6B6A}"/>
          </ac:spMkLst>
        </pc:spChg>
        <pc:spChg chg="del topLvl">
          <ac:chgData name="Minh-Kha Nguyen" userId="73ea909082ace275" providerId="LiveId" clId="{B1554112-6404-403C-A743-7FE3323E2177}" dt="2020-04-05T09:26:10.387" v="12310" actId="478"/>
          <ac:spMkLst>
            <pc:docMk/>
            <pc:sldMk cId="1941551542" sldId="345"/>
            <ac:spMk id="9" creationId="{D2468794-36AB-47C5-BC0A-FF52FF4835CC}"/>
          </ac:spMkLst>
        </pc:spChg>
        <pc:spChg chg="del topLvl">
          <ac:chgData name="Minh-Kha Nguyen" userId="73ea909082ace275" providerId="LiveId" clId="{B1554112-6404-403C-A743-7FE3323E2177}" dt="2020-04-05T09:26:21.317" v="12312" actId="478"/>
          <ac:spMkLst>
            <pc:docMk/>
            <pc:sldMk cId="1941551542" sldId="345"/>
            <ac:spMk id="11" creationId="{7B077E3A-A385-43B6-B4D7-92D9937ECC5E}"/>
          </ac:spMkLst>
        </pc:spChg>
        <pc:spChg chg="topLvl">
          <ac:chgData name="Minh-Kha Nguyen" userId="73ea909082ace275" providerId="LiveId" clId="{B1554112-6404-403C-A743-7FE3323E2177}" dt="2020-04-05T09:26:21.317" v="12312" actId="478"/>
          <ac:spMkLst>
            <pc:docMk/>
            <pc:sldMk cId="1941551542" sldId="345"/>
            <ac:spMk id="12" creationId="{B1873761-C0EA-44E0-82CA-7D4BEFE18AA1}"/>
          </ac:spMkLst>
        </pc:spChg>
        <pc:spChg chg="mod topLvl">
          <ac:chgData name="Minh-Kha Nguyen" userId="73ea909082ace275" providerId="LiveId" clId="{B1554112-6404-403C-A743-7FE3323E2177}" dt="2020-04-04T19:28:26.916" v="5552" actId="164"/>
          <ac:spMkLst>
            <pc:docMk/>
            <pc:sldMk cId="1941551542" sldId="345"/>
            <ac:spMk id="20" creationId="{59B2115D-5A4B-4130-B845-6CCE7F0C74C4}"/>
          </ac:spMkLst>
        </pc:spChg>
        <pc:spChg chg="mod topLvl">
          <ac:chgData name="Minh-Kha Nguyen" userId="73ea909082ace275" providerId="LiveId" clId="{B1554112-6404-403C-A743-7FE3323E2177}" dt="2020-04-04T19:28:26.916" v="5552" actId="164"/>
          <ac:spMkLst>
            <pc:docMk/>
            <pc:sldMk cId="1941551542" sldId="345"/>
            <ac:spMk id="23" creationId="{DAE29E50-5901-4FC9-98D2-41B72ADFA0D4}"/>
          </ac:spMkLst>
        </pc:spChg>
        <pc:spChg chg="mod topLvl">
          <ac:chgData name="Minh-Kha Nguyen" userId="73ea909082ace275" providerId="LiveId" clId="{B1554112-6404-403C-A743-7FE3323E2177}" dt="2020-04-04T19:28:26.916" v="5552" actId="164"/>
          <ac:spMkLst>
            <pc:docMk/>
            <pc:sldMk cId="1941551542" sldId="345"/>
            <ac:spMk id="24" creationId="{D7B62BBD-2F70-4AEA-BBDC-2E233C7A87CB}"/>
          </ac:spMkLst>
        </pc:spChg>
        <pc:spChg chg="mod topLvl">
          <ac:chgData name="Minh-Kha Nguyen" userId="73ea909082ace275" providerId="LiveId" clId="{B1554112-6404-403C-A743-7FE3323E2177}" dt="2020-04-04T19:28:26.916" v="5552" actId="164"/>
          <ac:spMkLst>
            <pc:docMk/>
            <pc:sldMk cId="1941551542" sldId="345"/>
            <ac:spMk id="25" creationId="{7DAB764A-F188-4CB0-B71A-46086A1918BD}"/>
          </ac:spMkLst>
        </pc:spChg>
        <pc:spChg chg="mod topLvl">
          <ac:chgData name="Minh-Kha Nguyen" userId="73ea909082ace275" providerId="LiveId" clId="{B1554112-6404-403C-A743-7FE3323E2177}" dt="2020-04-04T19:28:26.916" v="5552" actId="164"/>
          <ac:spMkLst>
            <pc:docMk/>
            <pc:sldMk cId="1941551542" sldId="345"/>
            <ac:spMk id="26" creationId="{31D488EE-819A-4182-9632-AC70359F2375}"/>
          </ac:spMkLst>
        </pc:spChg>
        <pc:spChg chg="del mod ord topLvl">
          <ac:chgData name="Minh-Kha Nguyen" userId="73ea909082ace275" providerId="LiveId" clId="{B1554112-6404-403C-A743-7FE3323E2177}" dt="2020-04-04T19:37:00.528" v="5720" actId="478"/>
          <ac:spMkLst>
            <pc:docMk/>
            <pc:sldMk cId="1941551542" sldId="345"/>
            <ac:spMk id="35" creationId="{9DF81AEC-EAA7-4428-BDE4-A751250FF651}"/>
          </ac:spMkLst>
        </pc:spChg>
        <pc:spChg chg="add mod">
          <ac:chgData name="Minh-Kha Nguyen" userId="73ea909082ace275" providerId="LiveId" clId="{B1554112-6404-403C-A743-7FE3323E2177}" dt="2020-04-04T20:18:21.562" v="6906" actId="164"/>
          <ac:spMkLst>
            <pc:docMk/>
            <pc:sldMk cId="1941551542" sldId="345"/>
            <ac:spMk id="41" creationId="{90CEF352-28DE-47A1-A830-647EE0371175}"/>
          </ac:spMkLst>
        </pc:spChg>
        <pc:grpChg chg="del mod ord topLvl">
          <ac:chgData name="Minh-Kha Nguyen" userId="73ea909082ace275" providerId="LiveId" clId="{B1554112-6404-403C-A743-7FE3323E2177}" dt="2020-04-04T19:37:00.528" v="5720" actId="478"/>
          <ac:grpSpMkLst>
            <pc:docMk/>
            <pc:sldMk cId="1941551542" sldId="345"/>
            <ac:grpSpMk id="3" creationId="{49C57089-9BB2-4837-80A5-FF456C1B264B}"/>
          </ac:grpSpMkLst>
        </pc:grpChg>
        <pc:grpChg chg="del mod">
          <ac:chgData name="Minh-Kha Nguyen" userId="73ea909082ace275" providerId="LiveId" clId="{B1554112-6404-403C-A743-7FE3323E2177}" dt="2020-04-05T09:26:10.387" v="12310" actId="478"/>
          <ac:grpSpMkLst>
            <pc:docMk/>
            <pc:sldMk cId="1941551542" sldId="345"/>
            <ac:grpSpMk id="7" creationId="{0E324631-AADA-4367-922F-731C80D3B2C0}"/>
          </ac:grpSpMkLst>
        </pc:grpChg>
        <pc:grpChg chg="del mod">
          <ac:chgData name="Minh-Kha Nguyen" userId="73ea909082ace275" providerId="LiveId" clId="{B1554112-6404-403C-A743-7FE3323E2177}" dt="2020-04-05T09:26:21.317" v="12312" actId="478"/>
          <ac:grpSpMkLst>
            <pc:docMk/>
            <pc:sldMk cId="1941551542" sldId="345"/>
            <ac:grpSpMk id="10" creationId="{5F596482-5D1A-4F55-9B66-6CDF612F7B6C}"/>
          </ac:grpSpMkLst>
        </pc:grpChg>
        <pc:grpChg chg="del mod">
          <ac:chgData name="Minh-Kha Nguyen" userId="73ea909082ace275" providerId="LiveId" clId="{B1554112-6404-403C-A743-7FE3323E2177}" dt="2020-04-04T19:14:49.497" v="4512" actId="165"/>
          <ac:grpSpMkLst>
            <pc:docMk/>
            <pc:sldMk cId="1941551542" sldId="345"/>
            <ac:grpSpMk id="14" creationId="{3FD7B306-8204-49BA-A390-547DD7D122C9}"/>
          </ac:grpSpMkLst>
        </pc:grpChg>
        <pc:grpChg chg="del mod ord">
          <ac:chgData name="Minh-Kha Nguyen" userId="73ea909082ace275" providerId="LiveId" clId="{B1554112-6404-403C-A743-7FE3323E2177}" dt="2020-04-04T19:21:27.933" v="5195" actId="165"/>
          <ac:grpSpMkLst>
            <pc:docMk/>
            <pc:sldMk cId="1941551542" sldId="345"/>
            <ac:grpSpMk id="19" creationId="{39F4213A-FAAB-41F9-8E38-49F618C8282F}"/>
          </ac:grpSpMkLst>
        </pc:grpChg>
        <pc:grpChg chg="mod topLvl">
          <ac:chgData name="Minh-Kha Nguyen" userId="73ea909082ace275" providerId="LiveId" clId="{B1554112-6404-403C-A743-7FE3323E2177}" dt="2020-04-04T19:28:26.916" v="5552" actId="164"/>
          <ac:grpSpMkLst>
            <pc:docMk/>
            <pc:sldMk cId="1941551542" sldId="345"/>
            <ac:grpSpMk id="31" creationId="{6B5465EA-8501-43A1-9D22-B9E07F9B4794}"/>
          </ac:grpSpMkLst>
        </pc:grpChg>
        <pc:grpChg chg="add mod ord">
          <ac:chgData name="Minh-Kha Nguyen" userId="73ea909082ace275" providerId="LiveId" clId="{B1554112-6404-403C-A743-7FE3323E2177}" dt="2020-04-04T20:18:21.562" v="6906" actId="164"/>
          <ac:grpSpMkLst>
            <pc:docMk/>
            <pc:sldMk cId="1941551542" sldId="345"/>
            <ac:grpSpMk id="40" creationId="{9E5629EE-1934-4583-9FE6-6B2297C26849}"/>
          </ac:grpSpMkLst>
        </pc:grpChg>
        <pc:grpChg chg="add mod ord">
          <ac:chgData name="Minh-Kha Nguyen" userId="73ea909082ace275" providerId="LiveId" clId="{B1554112-6404-403C-A743-7FE3323E2177}" dt="2020-04-04T20:18:23.504" v="6910"/>
          <ac:grpSpMkLst>
            <pc:docMk/>
            <pc:sldMk cId="1941551542" sldId="345"/>
            <ac:grpSpMk id="42" creationId="{DF1B4AC5-BA9F-4977-9E67-5716B53A96F2}"/>
          </ac:grpSpMkLst>
        </pc:grpChg>
        <pc:graphicFrameChg chg="mod ord">
          <ac:chgData name="Minh-Kha Nguyen" userId="73ea909082ace275" providerId="LiveId" clId="{B1554112-6404-403C-A743-7FE3323E2177}" dt="2020-04-04T20:18:23.519" v="6928"/>
          <ac:graphicFrameMkLst>
            <pc:docMk/>
            <pc:sldMk cId="1941551542" sldId="345"/>
            <ac:graphicFrameMk id="4" creationId="{0335BD31-9BEB-4951-908E-6DF29B0B511F}"/>
          </ac:graphicFrameMkLst>
        </pc:graphicFrameChg>
        <pc:picChg chg="del mod ord">
          <ac:chgData name="Minh-Kha Nguyen" userId="73ea909082ace275" providerId="LiveId" clId="{B1554112-6404-403C-A743-7FE3323E2177}" dt="2020-04-04T19:37:03.780" v="5722" actId="478"/>
          <ac:picMkLst>
            <pc:docMk/>
            <pc:sldMk cId="1941551542" sldId="345"/>
            <ac:picMk id="5" creationId="{5A919BC2-87B9-41EA-90BB-BAC6E8B22F57}"/>
          </ac:picMkLst>
        </pc:picChg>
        <pc:picChg chg="add del mod">
          <ac:chgData name="Minh-Kha Nguyen" userId="73ea909082ace275" providerId="LiveId" clId="{B1554112-6404-403C-A743-7FE3323E2177}" dt="2020-04-05T09:12:16.426" v="11610" actId="21"/>
          <ac:picMkLst>
            <pc:docMk/>
            <pc:sldMk cId="1941551542" sldId="345"/>
            <ac:picMk id="5" creationId="{D79D6AC8-DD64-4D8C-A2F5-E3F1B2359D07}"/>
          </ac:picMkLst>
        </pc:picChg>
        <pc:picChg chg="mod ord">
          <ac:chgData name="Minh-Kha Nguyen" userId="73ea909082ace275" providerId="LiveId" clId="{B1554112-6404-403C-A743-7FE3323E2177}" dt="2020-04-04T20:18:23.511" v="6920"/>
          <ac:picMkLst>
            <pc:docMk/>
            <pc:sldMk cId="1941551542" sldId="345"/>
            <ac:picMk id="6" creationId="{182F4DCE-3821-4CD2-9A16-8FB1B79D4BB7}"/>
          </ac:picMkLst>
        </pc:picChg>
        <pc:picChg chg="del mod ord">
          <ac:chgData name="Minh-Kha Nguyen" userId="73ea909082ace275" providerId="LiveId" clId="{B1554112-6404-403C-A743-7FE3323E2177}" dt="2020-04-04T19:21:33.700" v="5196" actId="478"/>
          <ac:picMkLst>
            <pc:docMk/>
            <pc:sldMk cId="1941551542" sldId="345"/>
            <ac:picMk id="7" creationId="{649370CD-2285-44A3-AFB6-302A110A5976}"/>
          </ac:picMkLst>
        </pc:picChg>
        <pc:picChg chg="del mod ord">
          <ac:chgData name="Minh-Kha Nguyen" userId="73ea909082ace275" providerId="LiveId" clId="{B1554112-6404-403C-A743-7FE3323E2177}" dt="2020-04-04T19:21:33.700" v="5196" actId="478"/>
          <ac:picMkLst>
            <pc:docMk/>
            <pc:sldMk cId="1941551542" sldId="345"/>
            <ac:picMk id="8" creationId="{A66BDBAE-A47C-46E9-8D95-1BE1D22E4710}"/>
          </ac:picMkLst>
        </pc:picChg>
        <pc:picChg chg="del mod ord">
          <ac:chgData name="Minh-Kha Nguyen" userId="73ea909082ace275" providerId="LiveId" clId="{B1554112-6404-403C-A743-7FE3323E2177}" dt="2020-04-04T19:21:33.700" v="5196" actId="478"/>
          <ac:picMkLst>
            <pc:docMk/>
            <pc:sldMk cId="1941551542" sldId="345"/>
            <ac:picMk id="9" creationId="{67D3DF17-80E0-4473-BD89-D7E7E8423929}"/>
          </ac:picMkLst>
        </pc:picChg>
        <pc:picChg chg="del mod ord">
          <ac:chgData name="Minh-Kha Nguyen" userId="73ea909082ace275" providerId="LiveId" clId="{B1554112-6404-403C-A743-7FE3323E2177}" dt="2020-04-04T19:21:33.700" v="5196" actId="478"/>
          <ac:picMkLst>
            <pc:docMk/>
            <pc:sldMk cId="1941551542" sldId="345"/>
            <ac:picMk id="10" creationId="{82BCAAF5-44F3-4C8A-BE13-C117EBC77718}"/>
          </ac:picMkLst>
        </pc:picChg>
        <pc:picChg chg="del mod ord topLvl">
          <ac:chgData name="Minh-Kha Nguyen" userId="73ea909082ace275" providerId="LiveId" clId="{B1554112-6404-403C-A743-7FE3323E2177}" dt="2020-04-04T19:37:00.528" v="5720" actId="478"/>
          <ac:picMkLst>
            <pc:docMk/>
            <pc:sldMk cId="1941551542" sldId="345"/>
            <ac:picMk id="11" creationId="{46863EAF-0719-4243-A7E2-FB40AD0362D1}"/>
          </ac:picMkLst>
        </pc:picChg>
        <pc:picChg chg="del mod ord topLvl">
          <ac:chgData name="Minh-Kha Nguyen" userId="73ea909082ace275" providerId="LiveId" clId="{B1554112-6404-403C-A743-7FE3323E2177}" dt="2020-04-04T19:37:00.528" v="5720" actId="478"/>
          <ac:picMkLst>
            <pc:docMk/>
            <pc:sldMk cId="1941551542" sldId="345"/>
            <ac:picMk id="13" creationId="{3E81ECA0-1049-4F38-8AF6-D1057778B3EA}"/>
          </ac:picMkLst>
        </pc:picChg>
        <pc:picChg chg="add del mod ord">
          <ac:chgData name="Minh-Kha Nguyen" userId="73ea909082ace275" providerId="LiveId" clId="{B1554112-6404-403C-A743-7FE3323E2177}" dt="2020-04-05T09:26:16.416" v="12311" actId="27803"/>
          <ac:picMkLst>
            <pc:docMk/>
            <pc:sldMk cId="1941551542" sldId="345"/>
            <ac:picMk id="15" creationId="{5F596482-5D1A-4F55-9B66-6CDF612F7B6C}"/>
          </ac:picMkLst>
        </pc:picChg>
        <pc:picChg chg="add del mod">
          <ac:chgData name="Minh-Kha Nguyen" userId="73ea909082ace275" providerId="LiveId" clId="{B1554112-6404-403C-A743-7FE3323E2177}" dt="2020-04-04T19:17:01.633" v="4886" actId="478"/>
          <ac:picMkLst>
            <pc:docMk/>
            <pc:sldMk cId="1941551542" sldId="345"/>
            <ac:picMk id="16" creationId="{41A99A35-9A08-46CD-9A3E-2A3A97E90459}"/>
          </ac:picMkLst>
        </pc:picChg>
        <pc:picChg chg="del mod ord">
          <ac:chgData name="Minh-Kha Nguyen" userId="73ea909082ace275" providerId="LiveId" clId="{B1554112-6404-403C-A743-7FE3323E2177}" dt="2020-04-04T19:21:23.233" v="5194" actId="478"/>
          <ac:picMkLst>
            <pc:docMk/>
            <pc:sldMk cId="1941551542" sldId="345"/>
            <ac:picMk id="17" creationId="{2F606D26-F79F-4D99-B07C-3C3AAF0FA74A}"/>
          </ac:picMkLst>
        </pc:picChg>
        <pc:picChg chg="del mod ord">
          <ac:chgData name="Minh-Kha Nguyen" userId="73ea909082ace275" providerId="LiveId" clId="{B1554112-6404-403C-A743-7FE3323E2177}" dt="2020-04-04T19:21:23.233" v="5194" actId="478"/>
          <ac:picMkLst>
            <pc:docMk/>
            <pc:sldMk cId="1941551542" sldId="345"/>
            <ac:picMk id="18" creationId="{5124EB5F-3FAA-451C-A6A9-3984A075296B}"/>
          </ac:picMkLst>
        </pc:picChg>
        <pc:picChg chg="mod topLvl">
          <ac:chgData name="Minh-Kha Nguyen" userId="73ea909082ace275" providerId="LiveId" clId="{B1554112-6404-403C-A743-7FE3323E2177}" dt="2020-04-04T19:28:26.916" v="5552" actId="164"/>
          <ac:picMkLst>
            <pc:docMk/>
            <pc:sldMk cId="1941551542" sldId="345"/>
            <ac:picMk id="21" creationId="{CD9CDCAE-4244-4C81-B0E2-9992F1A36E9A}"/>
          </ac:picMkLst>
        </pc:picChg>
        <pc:picChg chg="mod topLvl">
          <ac:chgData name="Minh-Kha Nguyen" userId="73ea909082ace275" providerId="LiveId" clId="{B1554112-6404-403C-A743-7FE3323E2177}" dt="2020-04-04T19:28:26.916" v="5552" actId="164"/>
          <ac:picMkLst>
            <pc:docMk/>
            <pc:sldMk cId="1941551542" sldId="345"/>
            <ac:picMk id="22" creationId="{F7ED40C3-BFCE-4391-9E96-361D73398282}"/>
          </ac:picMkLst>
        </pc:picChg>
        <pc:picChg chg="mod ord topLvl">
          <ac:chgData name="Minh-Kha Nguyen" userId="73ea909082ace275" providerId="LiveId" clId="{B1554112-6404-403C-A743-7FE3323E2177}" dt="2020-04-04T20:18:23.505" v="6912"/>
          <ac:picMkLst>
            <pc:docMk/>
            <pc:sldMk cId="1941551542" sldId="345"/>
            <ac:picMk id="27" creationId="{E183AD74-0932-4626-95BE-5BBE643F9089}"/>
          </ac:picMkLst>
        </pc:picChg>
        <pc:picChg chg="mod ord topLvl">
          <ac:chgData name="Minh-Kha Nguyen" userId="73ea909082ace275" providerId="LiveId" clId="{B1554112-6404-403C-A743-7FE3323E2177}" dt="2020-04-04T20:18:23.507" v="6914"/>
          <ac:picMkLst>
            <pc:docMk/>
            <pc:sldMk cId="1941551542" sldId="345"/>
            <ac:picMk id="28" creationId="{7E371614-E0C5-4730-9F59-298577397441}"/>
          </ac:picMkLst>
        </pc:picChg>
        <pc:picChg chg="mod ord topLvl">
          <ac:chgData name="Minh-Kha Nguyen" userId="73ea909082ace275" providerId="LiveId" clId="{B1554112-6404-403C-A743-7FE3323E2177}" dt="2020-04-04T20:18:23.508" v="6916"/>
          <ac:picMkLst>
            <pc:docMk/>
            <pc:sldMk cId="1941551542" sldId="345"/>
            <ac:picMk id="29" creationId="{9AAC2387-77BD-4869-99AD-807C896682D3}"/>
          </ac:picMkLst>
        </pc:picChg>
        <pc:picChg chg="mod ord topLvl">
          <ac:chgData name="Minh-Kha Nguyen" userId="73ea909082ace275" providerId="LiveId" clId="{B1554112-6404-403C-A743-7FE3323E2177}" dt="2020-04-04T20:18:23.510" v="6918"/>
          <ac:picMkLst>
            <pc:docMk/>
            <pc:sldMk cId="1941551542" sldId="345"/>
            <ac:picMk id="30" creationId="{F6100D8D-1CCE-49E2-804F-56FA93D061D7}"/>
          </ac:picMkLst>
        </pc:picChg>
        <pc:picChg chg="add del mod">
          <ac:chgData name="Minh-Kha Nguyen" userId="73ea909082ace275" providerId="LiveId" clId="{B1554112-6404-403C-A743-7FE3323E2177}" dt="2020-04-05T09:26:01.564" v="12309" actId="27803"/>
          <ac:picMkLst>
            <pc:docMk/>
            <pc:sldMk cId="1941551542" sldId="345"/>
            <ac:picMk id="34" creationId="{0E324631-AADA-4367-922F-731C80D3B2C0}"/>
          </ac:picMkLst>
        </pc:picChg>
        <pc:picChg chg="del mod ord">
          <ac:chgData name="Minh-Kha Nguyen" userId="73ea909082ace275" providerId="LiveId" clId="{B1554112-6404-403C-A743-7FE3323E2177}" dt="2020-04-04T19:37:02.058" v="5721" actId="478"/>
          <ac:picMkLst>
            <pc:docMk/>
            <pc:sldMk cId="1941551542" sldId="345"/>
            <ac:picMk id="34" creationId="{71402A5D-8B72-425C-AFC2-CBAF4CC2A399}"/>
          </ac:picMkLst>
        </pc:picChg>
        <pc:picChg chg="add">
          <ac:chgData name="Minh-Kha Nguyen" userId="73ea909082ace275" providerId="LiveId" clId="{B1554112-6404-403C-A743-7FE3323E2177}" dt="2020-04-05T09:29:33.393" v="12422"/>
          <ac:picMkLst>
            <pc:docMk/>
            <pc:sldMk cId="1941551542" sldId="345"/>
            <ac:picMk id="35" creationId="{A075BEC6-DC12-4C25-A057-A8AD319C7449}"/>
          </ac:picMkLst>
        </pc:picChg>
        <pc:picChg chg="add del mod ord">
          <ac:chgData name="Minh-Kha Nguyen" userId="73ea909082ace275" providerId="LiveId" clId="{B1554112-6404-403C-A743-7FE3323E2177}" dt="2020-04-05T09:29:33.152" v="12421" actId="478"/>
          <ac:picMkLst>
            <pc:docMk/>
            <pc:sldMk cId="1941551542" sldId="345"/>
            <ac:picMk id="39" creationId="{FAA3E387-37F8-4CC8-B363-5A31753199C5}"/>
          </ac:picMkLst>
        </pc:picChg>
      </pc:sldChg>
      <pc:sldChg chg="addSp delSp modSp add mod modAnim">
        <pc:chgData name="Minh-Kha Nguyen" userId="73ea909082ace275" providerId="LiveId" clId="{B1554112-6404-403C-A743-7FE3323E2177}" dt="2020-04-05T09:31:08.396" v="12481" actId="478"/>
        <pc:sldMkLst>
          <pc:docMk/>
          <pc:sldMk cId="2864450953" sldId="346"/>
        </pc:sldMkLst>
        <pc:spChg chg="mod ord">
          <ac:chgData name="Minh-Kha Nguyen" userId="73ea909082ace275" providerId="LiveId" clId="{B1554112-6404-403C-A743-7FE3323E2177}" dt="2020-04-04T20:17:51.467" v="6742"/>
          <ac:spMkLst>
            <pc:docMk/>
            <pc:sldMk cId="2864450953" sldId="346"/>
            <ac:spMk id="2" creationId="{16E0F010-D42B-41EF-9A76-EA4A5F1FFE2A}"/>
          </ac:spMkLst>
        </pc:spChg>
        <pc:spChg chg="mod ord">
          <ac:chgData name="Minh-Kha Nguyen" userId="73ea909082ace275" providerId="LiveId" clId="{B1554112-6404-403C-A743-7FE3323E2177}" dt="2020-04-04T20:17:51.471" v="6750"/>
          <ac:spMkLst>
            <pc:docMk/>
            <pc:sldMk cId="2864450953" sldId="346"/>
            <ac:spMk id="35" creationId="{9DF81AEC-EAA7-4428-BDE4-A751250FF651}"/>
          </ac:spMkLst>
        </pc:spChg>
        <pc:spChg chg="add mod topLvl">
          <ac:chgData name="Minh-Kha Nguyen" userId="73ea909082ace275" providerId="LiveId" clId="{B1554112-6404-403C-A743-7FE3323E2177}" dt="2020-04-04T20:17:40.364" v="6721" actId="165"/>
          <ac:spMkLst>
            <pc:docMk/>
            <pc:sldMk cId="2864450953" sldId="346"/>
            <ac:spMk id="38" creationId="{9E84FD1B-88F4-4382-A7F9-A9682B91FF33}"/>
          </ac:spMkLst>
        </pc:spChg>
        <pc:spChg chg="add mod topLvl">
          <ac:chgData name="Minh-Kha Nguyen" userId="73ea909082ace275" providerId="LiveId" clId="{B1554112-6404-403C-A743-7FE3323E2177}" dt="2020-04-04T20:17:40.364" v="6721" actId="165"/>
          <ac:spMkLst>
            <pc:docMk/>
            <pc:sldMk cId="2864450953" sldId="346"/>
            <ac:spMk id="42" creationId="{10640300-9658-491E-A06C-8FB546E13C29}"/>
          </ac:spMkLst>
        </pc:spChg>
        <pc:spChg chg="add mod topLvl">
          <ac:chgData name="Minh-Kha Nguyen" userId="73ea909082ace275" providerId="LiveId" clId="{B1554112-6404-403C-A743-7FE3323E2177}" dt="2020-04-04T20:17:40.364" v="6721" actId="165"/>
          <ac:spMkLst>
            <pc:docMk/>
            <pc:sldMk cId="2864450953" sldId="346"/>
            <ac:spMk id="43" creationId="{D3433CF4-65FC-440F-9386-BB03EECED0A9}"/>
          </ac:spMkLst>
        </pc:spChg>
        <pc:spChg chg="add mod topLvl">
          <ac:chgData name="Minh-Kha Nguyen" userId="73ea909082ace275" providerId="LiveId" clId="{B1554112-6404-403C-A743-7FE3323E2177}" dt="2020-04-04T20:17:40.364" v="6721" actId="165"/>
          <ac:spMkLst>
            <pc:docMk/>
            <pc:sldMk cId="2864450953" sldId="346"/>
            <ac:spMk id="44" creationId="{50FE6CAE-3C95-4507-BF38-D4EA7C73F7EE}"/>
          </ac:spMkLst>
        </pc:spChg>
        <pc:spChg chg="add mod topLvl">
          <ac:chgData name="Minh-Kha Nguyen" userId="73ea909082ace275" providerId="LiveId" clId="{B1554112-6404-403C-A743-7FE3323E2177}" dt="2020-04-04T20:17:40.364" v="6721" actId="165"/>
          <ac:spMkLst>
            <pc:docMk/>
            <pc:sldMk cId="2864450953" sldId="346"/>
            <ac:spMk id="45" creationId="{CE7980B3-2388-4649-B41F-4560203A59D3}"/>
          </ac:spMkLst>
        </pc:spChg>
        <pc:spChg chg="mod topLvl">
          <ac:chgData name="Minh-Kha Nguyen" userId="73ea909082ace275" providerId="LiveId" clId="{B1554112-6404-403C-A743-7FE3323E2177}" dt="2020-04-04T20:17:38.126" v="6720" actId="165"/>
          <ac:spMkLst>
            <pc:docMk/>
            <pc:sldMk cId="2864450953" sldId="346"/>
            <ac:spMk id="51" creationId="{A4DB4C06-86C0-49A0-A4B2-DAB16A9BDA2E}"/>
          </ac:spMkLst>
        </pc:spChg>
        <pc:spChg chg="mod topLvl">
          <ac:chgData name="Minh-Kha Nguyen" userId="73ea909082ace275" providerId="LiveId" clId="{B1554112-6404-403C-A743-7FE3323E2177}" dt="2020-04-04T20:17:38.126" v="6720" actId="165"/>
          <ac:spMkLst>
            <pc:docMk/>
            <pc:sldMk cId="2864450953" sldId="346"/>
            <ac:spMk id="52" creationId="{099BAF51-A1D0-4CC5-9C99-C44F21228EF0}"/>
          </ac:spMkLst>
        </pc:spChg>
        <pc:spChg chg="add mod">
          <ac:chgData name="Minh-Kha Nguyen" userId="73ea909082ace275" providerId="LiveId" clId="{B1554112-6404-403C-A743-7FE3323E2177}" dt="2020-04-04T20:17:48.160" v="6724" actId="164"/>
          <ac:spMkLst>
            <pc:docMk/>
            <pc:sldMk cId="2864450953" sldId="346"/>
            <ac:spMk id="53" creationId="{FC07ACFF-9B4E-4DFA-8AD4-F0A272E841FC}"/>
          </ac:spMkLst>
        </pc:spChg>
        <pc:spChg chg="add">
          <ac:chgData name="Minh-Kha Nguyen" userId="73ea909082ace275" providerId="LiveId" clId="{B1554112-6404-403C-A743-7FE3323E2177}" dt="2020-04-05T09:29:15.829" v="12378"/>
          <ac:spMkLst>
            <pc:docMk/>
            <pc:sldMk cId="2864450953" sldId="346"/>
            <ac:spMk id="56" creationId="{1B6F597D-1E15-4E75-8F1F-207AD7D5B3B0}"/>
          </ac:spMkLst>
        </pc:spChg>
        <pc:spChg chg="add">
          <ac:chgData name="Minh-Kha Nguyen" userId="73ea909082ace275" providerId="LiveId" clId="{B1554112-6404-403C-A743-7FE3323E2177}" dt="2020-04-05T09:29:15.829" v="12378"/>
          <ac:spMkLst>
            <pc:docMk/>
            <pc:sldMk cId="2864450953" sldId="346"/>
            <ac:spMk id="57" creationId="{3C53E8F8-4DF4-4C65-B450-3D73CB79E74C}"/>
          </ac:spMkLst>
        </pc:spChg>
        <pc:grpChg chg="mod ord">
          <ac:chgData name="Minh-Kha Nguyen" userId="73ea909082ace275" providerId="LiveId" clId="{B1554112-6404-403C-A743-7FE3323E2177}" dt="2020-04-04T20:17:51.473" v="6754"/>
          <ac:grpSpMkLst>
            <pc:docMk/>
            <pc:sldMk cId="2864450953" sldId="346"/>
            <ac:grpSpMk id="3" creationId="{49C57089-9BB2-4837-80A5-FF456C1B264B}"/>
          </ac:grpSpMkLst>
        </pc:grpChg>
        <pc:grpChg chg="add del mod ord">
          <ac:chgData name="Minh-Kha Nguyen" userId="73ea909082ace275" providerId="LiveId" clId="{B1554112-6404-403C-A743-7FE3323E2177}" dt="2020-04-04T20:17:48.160" v="6724" actId="164"/>
          <ac:grpSpMkLst>
            <pc:docMk/>
            <pc:sldMk cId="2864450953" sldId="346"/>
            <ac:grpSpMk id="12" creationId="{6D0DEB6D-A1BF-4B7D-B436-7C610A7C06FD}"/>
          </ac:grpSpMkLst>
        </pc:grpChg>
        <pc:grpChg chg="add mod">
          <ac:chgData name="Minh-Kha Nguyen" userId="73ea909082ace275" providerId="LiveId" clId="{B1554112-6404-403C-A743-7FE3323E2177}" dt="2020-04-04T20:17:18.110" v="6717" actId="164"/>
          <ac:grpSpMkLst>
            <pc:docMk/>
            <pc:sldMk cId="2864450953" sldId="346"/>
            <ac:grpSpMk id="14" creationId="{01245855-419C-4ED2-8DFF-534C3C82FFF5}"/>
          </ac:grpSpMkLst>
        </pc:grpChg>
        <pc:grpChg chg="add mod ord">
          <ac:chgData name="Minh-Kha Nguyen" userId="73ea909082ace275" providerId="LiveId" clId="{B1554112-6404-403C-A743-7FE3323E2177}" dt="2020-04-04T20:17:51.459" v="6728"/>
          <ac:grpSpMkLst>
            <pc:docMk/>
            <pc:sldMk cId="2864450953" sldId="346"/>
            <ac:grpSpMk id="16" creationId="{F02DBC75-D430-48E1-A785-A9B84F4E4F6B}"/>
          </ac:grpSpMkLst>
        </pc:grpChg>
        <pc:grpChg chg="del mod">
          <ac:chgData name="Minh-Kha Nguyen" userId="73ea909082ace275" providerId="LiveId" clId="{B1554112-6404-403C-A743-7FE3323E2177}" dt="2020-04-04T19:22:02.278" v="5197" actId="478"/>
          <ac:grpSpMkLst>
            <pc:docMk/>
            <pc:sldMk cId="2864450953" sldId="346"/>
            <ac:grpSpMk id="19" creationId="{39F4213A-FAAB-41F9-8E38-49F618C8282F}"/>
          </ac:grpSpMkLst>
        </pc:grpChg>
        <pc:grpChg chg="add del mod topLvl">
          <ac:chgData name="Minh-Kha Nguyen" userId="73ea909082ace275" providerId="LiveId" clId="{B1554112-6404-403C-A743-7FE3323E2177}" dt="2020-04-04T20:17:40.364" v="6721" actId="165"/>
          <ac:grpSpMkLst>
            <pc:docMk/>
            <pc:sldMk cId="2864450953" sldId="346"/>
            <ac:grpSpMk id="50" creationId="{886BFF12-4631-4A3C-B508-A810D17C2783}"/>
          </ac:grpSpMkLst>
        </pc:grpChg>
        <pc:graphicFrameChg chg="mod ord">
          <ac:chgData name="Minh-Kha Nguyen" userId="73ea909082ace275" providerId="LiveId" clId="{B1554112-6404-403C-A743-7FE3323E2177}" dt="2020-04-04T20:17:51.484" v="6770"/>
          <ac:graphicFrameMkLst>
            <pc:docMk/>
            <pc:sldMk cId="2864450953" sldId="346"/>
            <ac:graphicFrameMk id="4" creationId="{0335BD31-9BEB-4951-908E-6DF29B0B511F}"/>
          </ac:graphicFrameMkLst>
        </pc:graphicFrameChg>
        <pc:picChg chg="mod ord">
          <ac:chgData name="Minh-Kha Nguyen" userId="73ea909082ace275" providerId="LiveId" clId="{B1554112-6404-403C-A743-7FE3323E2177}" dt="2020-04-04T20:17:51.460" v="6730"/>
          <ac:picMkLst>
            <pc:docMk/>
            <pc:sldMk cId="2864450953" sldId="346"/>
            <ac:picMk id="5" creationId="{5A919BC2-87B9-41EA-90BB-BAC6E8B22F57}"/>
          </ac:picMkLst>
        </pc:picChg>
        <pc:picChg chg="del mod ord">
          <ac:chgData name="Minh-Kha Nguyen" userId="73ea909082ace275" providerId="LiveId" clId="{B1554112-6404-403C-A743-7FE3323E2177}" dt="2020-04-05T09:31:08.396" v="12481" actId="478"/>
          <ac:picMkLst>
            <pc:docMk/>
            <pc:sldMk cId="2864450953" sldId="346"/>
            <ac:picMk id="6" creationId="{182F4DCE-3821-4CD2-9A16-8FB1B79D4BB7}"/>
          </ac:picMkLst>
        </pc:picChg>
        <pc:picChg chg="mod ord">
          <ac:chgData name="Minh-Kha Nguyen" userId="73ea909082ace275" providerId="LiveId" clId="{B1554112-6404-403C-A743-7FE3323E2177}" dt="2020-04-04T20:17:51.462" v="6734"/>
          <ac:picMkLst>
            <pc:docMk/>
            <pc:sldMk cId="2864450953" sldId="346"/>
            <ac:picMk id="7" creationId="{649370CD-2285-44A3-AFB6-302A110A5976}"/>
          </ac:picMkLst>
        </pc:picChg>
        <pc:picChg chg="mod ord">
          <ac:chgData name="Minh-Kha Nguyen" userId="73ea909082ace275" providerId="LiveId" clId="{B1554112-6404-403C-A743-7FE3323E2177}" dt="2020-04-04T20:17:51.463" v="6736"/>
          <ac:picMkLst>
            <pc:docMk/>
            <pc:sldMk cId="2864450953" sldId="346"/>
            <ac:picMk id="8" creationId="{A66BDBAE-A47C-46E9-8D95-1BE1D22E4710}"/>
          </ac:picMkLst>
        </pc:picChg>
        <pc:picChg chg="mod ord">
          <ac:chgData name="Minh-Kha Nguyen" userId="73ea909082ace275" providerId="LiveId" clId="{B1554112-6404-403C-A743-7FE3323E2177}" dt="2020-04-04T20:17:51.464" v="6738"/>
          <ac:picMkLst>
            <pc:docMk/>
            <pc:sldMk cId="2864450953" sldId="346"/>
            <ac:picMk id="9" creationId="{67D3DF17-80E0-4473-BD89-D7E7E8423929}"/>
          </ac:picMkLst>
        </pc:picChg>
        <pc:picChg chg="mod ord">
          <ac:chgData name="Minh-Kha Nguyen" userId="73ea909082ace275" providerId="LiveId" clId="{B1554112-6404-403C-A743-7FE3323E2177}" dt="2020-04-04T20:17:51.465" v="6740"/>
          <ac:picMkLst>
            <pc:docMk/>
            <pc:sldMk cId="2864450953" sldId="346"/>
            <ac:picMk id="10" creationId="{82BCAAF5-44F3-4C8A-BE13-C117EBC77718}"/>
          </ac:picMkLst>
        </pc:picChg>
        <pc:picChg chg="mod ord">
          <ac:chgData name="Minh-Kha Nguyen" userId="73ea909082ace275" providerId="LiveId" clId="{B1554112-6404-403C-A743-7FE3323E2177}" dt="2020-04-04T20:17:51.472" v="6752"/>
          <ac:picMkLst>
            <pc:docMk/>
            <pc:sldMk cId="2864450953" sldId="346"/>
            <ac:picMk id="11" creationId="{46863EAF-0719-4243-A7E2-FB40AD0362D1}"/>
          </ac:picMkLst>
        </pc:picChg>
        <pc:picChg chg="mod ord">
          <ac:chgData name="Minh-Kha Nguyen" userId="73ea909082ace275" providerId="LiveId" clId="{B1554112-6404-403C-A743-7FE3323E2177}" dt="2020-04-04T20:17:51.474" v="6756"/>
          <ac:picMkLst>
            <pc:docMk/>
            <pc:sldMk cId="2864450953" sldId="346"/>
            <ac:picMk id="13" creationId="{3E81ECA0-1049-4F38-8AF6-D1057778B3EA}"/>
          </ac:picMkLst>
        </pc:picChg>
        <pc:picChg chg="del mod ord">
          <ac:chgData name="Minh-Kha Nguyen" userId="73ea909082ace275" providerId="LiveId" clId="{B1554112-6404-403C-A743-7FE3323E2177}" dt="2020-04-05T09:29:15.140" v="12377" actId="478"/>
          <ac:picMkLst>
            <pc:docMk/>
            <pc:sldMk cId="2864450953" sldId="346"/>
            <ac:picMk id="15" creationId="{5F596482-5D1A-4F55-9B66-6CDF612F7B6C}"/>
          </ac:picMkLst>
        </pc:picChg>
        <pc:picChg chg="mod ord">
          <ac:chgData name="Minh-Kha Nguyen" userId="73ea909082ace275" providerId="LiveId" clId="{B1554112-6404-403C-A743-7FE3323E2177}" dt="2020-04-04T20:17:51.468" v="6744"/>
          <ac:picMkLst>
            <pc:docMk/>
            <pc:sldMk cId="2864450953" sldId="346"/>
            <ac:picMk id="17" creationId="{2F606D26-F79F-4D99-B07C-3C3AAF0FA74A}"/>
          </ac:picMkLst>
        </pc:picChg>
        <pc:picChg chg="mod ord">
          <ac:chgData name="Minh-Kha Nguyen" userId="73ea909082ace275" providerId="LiveId" clId="{B1554112-6404-403C-A743-7FE3323E2177}" dt="2020-04-04T20:17:51.469" v="6746"/>
          <ac:picMkLst>
            <pc:docMk/>
            <pc:sldMk cId="2864450953" sldId="346"/>
            <ac:picMk id="18" creationId="{5124EB5F-3FAA-451C-A6A9-3984A075296B}"/>
          </ac:picMkLst>
        </pc:picChg>
        <pc:picChg chg="mod ord">
          <ac:chgData name="Minh-Kha Nguyen" userId="73ea909082ace275" providerId="LiveId" clId="{B1554112-6404-403C-A743-7FE3323E2177}" dt="2020-04-04T20:17:51.470" v="6748"/>
          <ac:picMkLst>
            <pc:docMk/>
            <pc:sldMk cId="2864450953" sldId="346"/>
            <ac:picMk id="34" creationId="{71402A5D-8B72-425C-AFC2-CBAF4CC2A399}"/>
          </ac:picMkLst>
        </pc:picChg>
        <pc:picChg chg="del mod ord">
          <ac:chgData name="Minh-Kha Nguyen" userId="73ea909082ace275" providerId="LiveId" clId="{B1554112-6404-403C-A743-7FE3323E2177}" dt="2020-04-05T09:29:05.735" v="12376" actId="478"/>
          <ac:picMkLst>
            <pc:docMk/>
            <pc:sldMk cId="2864450953" sldId="346"/>
            <ac:picMk id="39" creationId="{FAA3E387-37F8-4CC8-B363-5A31753199C5}"/>
          </ac:picMkLst>
        </pc:picChg>
        <pc:picChg chg="add mod topLvl">
          <ac:chgData name="Minh-Kha Nguyen" userId="73ea909082ace275" providerId="LiveId" clId="{B1554112-6404-403C-A743-7FE3323E2177}" dt="2020-04-04T20:17:40.364" v="6721" actId="165"/>
          <ac:picMkLst>
            <pc:docMk/>
            <pc:sldMk cId="2864450953" sldId="346"/>
            <ac:picMk id="40" creationId="{BF6C493F-279E-4761-B378-26FBBEBD495B}"/>
          </ac:picMkLst>
        </pc:picChg>
        <pc:picChg chg="add mod topLvl">
          <ac:chgData name="Minh-Kha Nguyen" userId="73ea909082ace275" providerId="LiveId" clId="{B1554112-6404-403C-A743-7FE3323E2177}" dt="2020-04-04T20:17:40.364" v="6721" actId="165"/>
          <ac:picMkLst>
            <pc:docMk/>
            <pc:sldMk cId="2864450953" sldId="346"/>
            <ac:picMk id="41" creationId="{2BA78D9A-32F2-40DE-A441-8F484E001303}"/>
          </ac:picMkLst>
        </pc:picChg>
        <pc:picChg chg="add mod ord">
          <ac:chgData name="Minh-Kha Nguyen" userId="73ea909082ace275" providerId="LiveId" clId="{B1554112-6404-403C-A743-7FE3323E2177}" dt="2020-04-04T20:17:51.476" v="6762"/>
          <ac:picMkLst>
            <pc:docMk/>
            <pc:sldMk cId="2864450953" sldId="346"/>
            <ac:picMk id="46" creationId="{EA586341-E971-4BB0-8EAF-75D0D8CB60D3}"/>
          </ac:picMkLst>
        </pc:picChg>
        <pc:picChg chg="add mod ord">
          <ac:chgData name="Minh-Kha Nguyen" userId="73ea909082ace275" providerId="LiveId" clId="{B1554112-6404-403C-A743-7FE3323E2177}" dt="2020-04-04T20:17:51.477" v="6764"/>
          <ac:picMkLst>
            <pc:docMk/>
            <pc:sldMk cId="2864450953" sldId="346"/>
            <ac:picMk id="47" creationId="{928CD94F-6153-42B6-9490-4F96208CC8FE}"/>
          </ac:picMkLst>
        </pc:picChg>
        <pc:picChg chg="add mod ord">
          <ac:chgData name="Minh-Kha Nguyen" userId="73ea909082ace275" providerId="LiveId" clId="{B1554112-6404-403C-A743-7FE3323E2177}" dt="2020-04-04T20:17:51.478" v="6766"/>
          <ac:picMkLst>
            <pc:docMk/>
            <pc:sldMk cId="2864450953" sldId="346"/>
            <ac:picMk id="48" creationId="{763ECDF0-7F7D-4EBF-B6ED-1EE5E3317FDD}"/>
          </ac:picMkLst>
        </pc:picChg>
        <pc:picChg chg="add mod ord">
          <ac:chgData name="Minh-Kha Nguyen" userId="73ea909082ace275" providerId="LiveId" clId="{B1554112-6404-403C-A743-7FE3323E2177}" dt="2020-04-04T20:17:51.479" v="6768"/>
          <ac:picMkLst>
            <pc:docMk/>
            <pc:sldMk cId="2864450953" sldId="346"/>
            <ac:picMk id="49" creationId="{0ABF9EE0-E7FC-458B-87D0-F00BB780629B}"/>
          </ac:picMkLst>
        </pc:picChg>
        <pc:picChg chg="add mod">
          <ac:chgData name="Minh-Kha Nguyen" userId="73ea909082ace275" providerId="LiveId" clId="{B1554112-6404-403C-A743-7FE3323E2177}" dt="2020-04-05T09:29:26.869" v="12418" actId="1037"/>
          <ac:picMkLst>
            <pc:docMk/>
            <pc:sldMk cId="2864450953" sldId="346"/>
            <ac:picMk id="54" creationId="{FD3FC003-A729-41AC-A71E-BA2BF6A10C71}"/>
          </ac:picMkLst>
        </pc:picChg>
        <pc:picChg chg="add">
          <ac:chgData name="Minh-Kha Nguyen" userId="73ea909082ace275" providerId="LiveId" clId="{B1554112-6404-403C-A743-7FE3323E2177}" dt="2020-04-05T09:29:15.829" v="12378"/>
          <ac:picMkLst>
            <pc:docMk/>
            <pc:sldMk cId="2864450953" sldId="346"/>
            <ac:picMk id="55" creationId="{89E4CC64-A719-418E-B597-5FD9FBD8D37A}"/>
          </ac:picMkLst>
        </pc:picChg>
      </pc:sldChg>
      <pc:sldChg chg="addSp delSp modSp add mod modTransition addAnim delAnim modAnim">
        <pc:chgData name="Minh-Kha Nguyen" userId="73ea909082ace275" providerId="LiveId" clId="{B1554112-6404-403C-A743-7FE3323E2177}" dt="2020-04-05T09:31:16.648" v="12483"/>
        <pc:sldMkLst>
          <pc:docMk/>
          <pc:sldMk cId="3588691537" sldId="347"/>
        </pc:sldMkLst>
        <pc:spChg chg="del mod">
          <ac:chgData name="Minh-Kha Nguyen" userId="73ea909082ace275" providerId="LiveId" clId="{B1554112-6404-403C-A743-7FE3323E2177}" dt="2020-04-05T09:31:16.384" v="12482" actId="478"/>
          <ac:spMkLst>
            <pc:docMk/>
            <pc:sldMk cId="3588691537" sldId="347"/>
            <ac:spMk id="2" creationId="{16E0F010-D42B-41EF-9A76-EA4A5F1FFE2A}"/>
          </ac:spMkLst>
        </pc:spChg>
        <pc:spChg chg="add">
          <ac:chgData name="Minh-Kha Nguyen" userId="73ea909082ace275" providerId="LiveId" clId="{B1554112-6404-403C-A743-7FE3323E2177}" dt="2020-04-05T09:31:16.648" v="12483"/>
          <ac:spMkLst>
            <pc:docMk/>
            <pc:sldMk cId="3588691537" sldId="347"/>
            <ac:spMk id="20" creationId="{A23A5A3F-E150-48B1-A2EE-CD32D128879A}"/>
          </ac:spMkLst>
        </pc:spChg>
        <pc:spChg chg="del">
          <ac:chgData name="Minh-Kha Nguyen" userId="73ea909082ace275" providerId="LiveId" clId="{B1554112-6404-403C-A743-7FE3323E2177}" dt="2020-04-04T19:26:00.355" v="5317" actId="478"/>
          <ac:spMkLst>
            <pc:docMk/>
            <pc:sldMk cId="3588691537" sldId="347"/>
            <ac:spMk id="35" creationId="{9DF81AEC-EAA7-4428-BDE4-A751250FF651}"/>
          </ac:spMkLst>
        </pc:spChg>
        <pc:spChg chg="del">
          <ac:chgData name="Minh-Kha Nguyen" userId="73ea909082ace275" providerId="LiveId" clId="{B1554112-6404-403C-A743-7FE3323E2177}" dt="2020-04-04T19:25:53.476" v="5316" actId="478"/>
          <ac:spMkLst>
            <pc:docMk/>
            <pc:sldMk cId="3588691537" sldId="347"/>
            <ac:spMk id="38" creationId="{9E84FD1B-88F4-4382-A7F9-A9682B91FF33}"/>
          </ac:spMkLst>
        </pc:spChg>
        <pc:spChg chg="del">
          <ac:chgData name="Minh-Kha Nguyen" userId="73ea909082ace275" providerId="LiveId" clId="{B1554112-6404-403C-A743-7FE3323E2177}" dt="2020-04-04T19:25:53.476" v="5316" actId="478"/>
          <ac:spMkLst>
            <pc:docMk/>
            <pc:sldMk cId="3588691537" sldId="347"/>
            <ac:spMk id="42" creationId="{10640300-9658-491E-A06C-8FB546E13C29}"/>
          </ac:spMkLst>
        </pc:spChg>
        <pc:spChg chg="del">
          <ac:chgData name="Minh-Kha Nguyen" userId="73ea909082ace275" providerId="LiveId" clId="{B1554112-6404-403C-A743-7FE3323E2177}" dt="2020-04-04T19:25:53.476" v="5316" actId="478"/>
          <ac:spMkLst>
            <pc:docMk/>
            <pc:sldMk cId="3588691537" sldId="347"/>
            <ac:spMk id="43" creationId="{D3433CF4-65FC-440F-9386-BB03EECED0A9}"/>
          </ac:spMkLst>
        </pc:spChg>
        <pc:spChg chg="del">
          <ac:chgData name="Minh-Kha Nguyen" userId="73ea909082ace275" providerId="LiveId" clId="{B1554112-6404-403C-A743-7FE3323E2177}" dt="2020-04-04T19:25:53.476" v="5316" actId="478"/>
          <ac:spMkLst>
            <pc:docMk/>
            <pc:sldMk cId="3588691537" sldId="347"/>
            <ac:spMk id="44" creationId="{50FE6CAE-3C95-4507-BF38-D4EA7C73F7EE}"/>
          </ac:spMkLst>
        </pc:spChg>
        <pc:spChg chg="del">
          <ac:chgData name="Minh-Kha Nguyen" userId="73ea909082ace275" providerId="LiveId" clId="{B1554112-6404-403C-A743-7FE3323E2177}" dt="2020-04-04T19:25:53.476" v="5316" actId="478"/>
          <ac:spMkLst>
            <pc:docMk/>
            <pc:sldMk cId="3588691537" sldId="347"/>
            <ac:spMk id="45" creationId="{CE7980B3-2388-4649-B41F-4560203A59D3}"/>
          </ac:spMkLst>
        </pc:spChg>
        <pc:spChg chg="add del mod">
          <ac:chgData name="Minh-Kha Nguyen" userId="73ea909082ace275" providerId="LiveId" clId="{B1554112-6404-403C-A743-7FE3323E2177}" dt="2020-04-04T19:26:48.710" v="5498" actId="21"/>
          <ac:spMkLst>
            <pc:docMk/>
            <pc:sldMk cId="3588691537" sldId="347"/>
            <ac:spMk id="53" creationId="{DF757115-A928-49BE-8D6A-23E4CA4FE65C}"/>
          </ac:spMkLst>
        </pc:spChg>
        <pc:spChg chg="add del mod">
          <ac:chgData name="Minh-Kha Nguyen" userId="73ea909082ace275" providerId="LiveId" clId="{B1554112-6404-403C-A743-7FE3323E2177}" dt="2020-04-04T19:33:04.781" v="5685" actId="21"/>
          <ac:spMkLst>
            <pc:docMk/>
            <pc:sldMk cId="3588691537" sldId="347"/>
            <ac:spMk id="58" creationId="{26EB31E4-8A92-4494-9EA7-D772D3EADE8E}"/>
          </ac:spMkLst>
        </pc:spChg>
        <pc:grpChg chg="del">
          <ac:chgData name="Minh-Kha Nguyen" userId="73ea909082ace275" providerId="LiveId" clId="{B1554112-6404-403C-A743-7FE3323E2177}" dt="2020-04-04T19:26:00.355" v="5317" actId="478"/>
          <ac:grpSpMkLst>
            <pc:docMk/>
            <pc:sldMk cId="3588691537" sldId="347"/>
            <ac:grpSpMk id="3" creationId="{49C57089-9BB2-4837-80A5-FF456C1B264B}"/>
          </ac:grpSpMkLst>
        </pc:grpChg>
        <pc:grpChg chg="del">
          <ac:chgData name="Minh-Kha Nguyen" userId="73ea909082ace275" providerId="LiveId" clId="{B1554112-6404-403C-A743-7FE3323E2177}" dt="2020-04-04T19:25:53.476" v="5316" actId="478"/>
          <ac:grpSpMkLst>
            <pc:docMk/>
            <pc:sldMk cId="3588691537" sldId="347"/>
            <ac:grpSpMk id="50" creationId="{886BFF12-4631-4A3C-B508-A810D17C2783}"/>
          </ac:grpSpMkLst>
        </pc:grpChg>
        <pc:grpChg chg="add">
          <ac:chgData name="Minh-Kha Nguyen" userId="73ea909082ace275" providerId="LiveId" clId="{B1554112-6404-403C-A743-7FE3323E2177}" dt="2020-04-04T19:38:33.859" v="5760"/>
          <ac:grpSpMkLst>
            <pc:docMk/>
            <pc:sldMk cId="3588691537" sldId="347"/>
            <ac:grpSpMk id="59" creationId="{459D8228-04A2-4A25-977B-C470D66E3DD9}"/>
          </ac:grpSpMkLst>
        </pc:grpChg>
        <pc:picChg chg="del">
          <ac:chgData name="Minh-Kha Nguyen" userId="73ea909082ace275" providerId="LiveId" clId="{B1554112-6404-403C-A743-7FE3323E2177}" dt="2020-04-04T19:26:04.595" v="5319" actId="478"/>
          <ac:picMkLst>
            <pc:docMk/>
            <pc:sldMk cId="3588691537" sldId="347"/>
            <ac:picMk id="5" creationId="{5A919BC2-87B9-41EA-90BB-BAC6E8B22F57}"/>
          </ac:picMkLst>
        </pc:picChg>
        <pc:picChg chg="del mod">
          <ac:chgData name="Minh-Kha Nguyen" userId="73ea909082ace275" providerId="LiveId" clId="{B1554112-6404-403C-A743-7FE3323E2177}" dt="2020-04-05T09:31:16.384" v="12482" actId="478"/>
          <ac:picMkLst>
            <pc:docMk/>
            <pc:sldMk cId="3588691537" sldId="347"/>
            <ac:picMk id="6" creationId="{182F4DCE-3821-4CD2-9A16-8FB1B79D4BB7}"/>
          </ac:picMkLst>
        </pc:picChg>
        <pc:picChg chg="del">
          <ac:chgData name="Minh-Kha Nguyen" userId="73ea909082ace275" providerId="LiveId" clId="{B1554112-6404-403C-A743-7FE3323E2177}" dt="2020-04-04T19:26:41.348" v="5496" actId="478"/>
          <ac:picMkLst>
            <pc:docMk/>
            <pc:sldMk cId="3588691537" sldId="347"/>
            <ac:picMk id="7" creationId="{649370CD-2285-44A3-AFB6-302A110A5976}"/>
          </ac:picMkLst>
        </pc:picChg>
        <pc:picChg chg="del">
          <ac:chgData name="Minh-Kha Nguyen" userId="73ea909082ace275" providerId="LiveId" clId="{B1554112-6404-403C-A743-7FE3323E2177}" dt="2020-04-04T19:26:41.348" v="5496" actId="478"/>
          <ac:picMkLst>
            <pc:docMk/>
            <pc:sldMk cId="3588691537" sldId="347"/>
            <ac:picMk id="8" creationId="{A66BDBAE-A47C-46E9-8D95-1BE1D22E4710}"/>
          </ac:picMkLst>
        </pc:picChg>
        <pc:picChg chg="del">
          <ac:chgData name="Minh-Kha Nguyen" userId="73ea909082ace275" providerId="LiveId" clId="{B1554112-6404-403C-A743-7FE3323E2177}" dt="2020-04-04T19:26:41.348" v="5496" actId="478"/>
          <ac:picMkLst>
            <pc:docMk/>
            <pc:sldMk cId="3588691537" sldId="347"/>
            <ac:picMk id="9" creationId="{67D3DF17-80E0-4473-BD89-D7E7E8423929}"/>
          </ac:picMkLst>
        </pc:picChg>
        <pc:picChg chg="del">
          <ac:chgData name="Minh-Kha Nguyen" userId="73ea909082ace275" providerId="LiveId" clId="{B1554112-6404-403C-A743-7FE3323E2177}" dt="2020-04-04T19:26:41.348" v="5496" actId="478"/>
          <ac:picMkLst>
            <pc:docMk/>
            <pc:sldMk cId="3588691537" sldId="347"/>
            <ac:picMk id="10" creationId="{82BCAAF5-44F3-4C8A-BE13-C117EBC77718}"/>
          </ac:picMkLst>
        </pc:picChg>
        <pc:picChg chg="del">
          <ac:chgData name="Minh-Kha Nguyen" userId="73ea909082ace275" providerId="LiveId" clId="{B1554112-6404-403C-A743-7FE3323E2177}" dt="2020-04-04T19:26:00.355" v="5317" actId="478"/>
          <ac:picMkLst>
            <pc:docMk/>
            <pc:sldMk cId="3588691537" sldId="347"/>
            <ac:picMk id="11" creationId="{46863EAF-0719-4243-A7E2-FB40AD0362D1}"/>
          </ac:picMkLst>
        </pc:picChg>
        <pc:picChg chg="del">
          <ac:chgData name="Minh-Kha Nguyen" userId="73ea909082ace275" providerId="LiveId" clId="{B1554112-6404-403C-A743-7FE3323E2177}" dt="2020-04-04T19:26:00.355" v="5317" actId="478"/>
          <ac:picMkLst>
            <pc:docMk/>
            <pc:sldMk cId="3588691537" sldId="347"/>
            <ac:picMk id="13" creationId="{3E81ECA0-1049-4F38-8AF6-D1057778B3EA}"/>
          </ac:picMkLst>
        </pc:picChg>
        <pc:picChg chg="del">
          <ac:chgData name="Minh-Kha Nguyen" userId="73ea909082ace275" providerId="LiveId" clId="{B1554112-6404-403C-A743-7FE3323E2177}" dt="2020-04-04T19:25:53.476" v="5316" actId="478"/>
          <ac:picMkLst>
            <pc:docMk/>
            <pc:sldMk cId="3588691537" sldId="347"/>
            <ac:picMk id="15" creationId="{5F596482-5D1A-4F55-9B66-6CDF612F7B6C}"/>
          </ac:picMkLst>
        </pc:picChg>
        <pc:picChg chg="mod">
          <ac:chgData name="Minh-Kha Nguyen" userId="73ea909082ace275" providerId="LiveId" clId="{B1554112-6404-403C-A743-7FE3323E2177}" dt="2020-04-04T19:26:17.917" v="5445" actId="1038"/>
          <ac:picMkLst>
            <pc:docMk/>
            <pc:sldMk cId="3588691537" sldId="347"/>
            <ac:picMk id="17" creationId="{2F606D26-F79F-4D99-B07C-3C3AAF0FA74A}"/>
          </ac:picMkLst>
        </pc:picChg>
        <pc:picChg chg="mod">
          <ac:chgData name="Minh-Kha Nguyen" userId="73ea909082ace275" providerId="LiveId" clId="{B1554112-6404-403C-A743-7FE3323E2177}" dt="2020-04-04T19:26:17.917" v="5445" actId="1038"/>
          <ac:picMkLst>
            <pc:docMk/>
            <pc:sldMk cId="3588691537" sldId="347"/>
            <ac:picMk id="18" creationId="{5124EB5F-3FAA-451C-A6A9-3984A075296B}"/>
          </ac:picMkLst>
        </pc:picChg>
        <pc:picChg chg="add">
          <ac:chgData name="Minh-Kha Nguyen" userId="73ea909082ace275" providerId="LiveId" clId="{B1554112-6404-403C-A743-7FE3323E2177}" dt="2020-04-05T09:31:16.648" v="12483"/>
          <ac:picMkLst>
            <pc:docMk/>
            <pc:sldMk cId="3588691537" sldId="347"/>
            <ac:picMk id="19" creationId="{49459CB3-5C96-4A65-BACA-7C7044CE5009}"/>
          </ac:picMkLst>
        </pc:picChg>
        <pc:picChg chg="del">
          <ac:chgData name="Minh-Kha Nguyen" userId="73ea909082ace275" providerId="LiveId" clId="{B1554112-6404-403C-A743-7FE3323E2177}" dt="2020-04-04T19:26:02.106" v="5318" actId="478"/>
          <ac:picMkLst>
            <pc:docMk/>
            <pc:sldMk cId="3588691537" sldId="347"/>
            <ac:picMk id="34" creationId="{71402A5D-8B72-425C-AFC2-CBAF4CC2A399}"/>
          </ac:picMkLst>
        </pc:picChg>
        <pc:picChg chg="del">
          <ac:chgData name="Minh-Kha Nguyen" userId="73ea909082ace275" providerId="LiveId" clId="{B1554112-6404-403C-A743-7FE3323E2177}" dt="2020-04-04T19:25:53.476" v="5316" actId="478"/>
          <ac:picMkLst>
            <pc:docMk/>
            <pc:sldMk cId="3588691537" sldId="347"/>
            <ac:picMk id="39" creationId="{FAA3E387-37F8-4CC8-B363-5A31753199C5}"/>
          </ac:picMkLst>
        </pc:picChg>
        <pc:picChg chg="del">
          <ac:chgData name="Minh-Kha Nguyen" userId="73ea909082ace275" providerId="LiveId" clId="{B1554112-6404-403C-A743-7FE3323E2177}" dt="2020-04-04T19:25:53.476" v="5316" actId="478"/>
          <ac:picMkLst>
            <pc:docMk/>
            <pc:sldMk cId="3588691537" sldId="347"/>
            <ac:picMk id="40" creationId="{BF6C493F-279E-4761-B378-26FBBEBD495B}"/>
          </ac:picMkLst>
        </pc:picChg>
        <pc:picChg chg="del">
          <ac:chgData name="Minh-Kha Nguyen" userId="73ea909082ace275" providerId="LiveId" clId="{B1554112-6404-403C-A743-7FE3323E2177}" dt="2020-04-04T19:25:53.476" v="5316" actId="478"/>
          <ac:picMkLst>
            <pc:docMk/>
            <pc:sldMk cId="3588691537" sldId="347"/>
            <ac:picMk id="41" creationId="{2BA78D9A-32F2-40DE-A441-8F484E001303}"/>
          </ac:picMkLst>
        </pc:picChg>
        <pc:picChg chg="del">
          <ac:chgData name="Minh-Kha Nguyen" userId="73ea909082ace275" providerId="LiveId" clId="{B1554112-6404-403C-A743-7FE3323E2177}" dt="2020-04-04T19:25:53.476" v="5316" actId="478"/>
          <ac:picMkLst>
            <pc:docMk/>
            <pc:sldMk cId="3588691537" sldId="347"/>
            <ac:picMk id="46" creationId="{EA586341-E971-4BB0-8EAF-75D0D8CB60D3}"/>
          </ac:picMkLst>
        </pc:picChg>
        <pc:picChg chg="del">
          <ac:chgData name="Minh-Kha Nguyen" userId="73ea909082ace275" providerId="LiveId" clId="{B1554112-6404-403C-A743-7FE3323E2177}" dt="2020-04-04T19:25:53.476" v="5316" actId="478"/>
          <ac:picMkLst>
            <pc:docMk/>
            <pc:sldMk cId="3588691537" sldId="347"/>
            <ac:picMk id="47" creationId="{928CD94F-6153-42B6-9490-4F96208CC8FE}"/>
          </ac:picMkLst>
        </pc:picChg>
        <pc:picChg chg="del">
          <ac:chgData name="Minh-Kha Nguyen" userId="73ea909082ace275" providerId="LiveId" clId="{B1554112-6404-403C-A743-7FE3323E2177}" dt="2020-04-04T19:25:53.476" v="5316" actId="478"/>
          <ac:picMkLst>
            <pc:docMk/>
            <pc:sldMk cId="3588691537" sldId="347"/>
            <ac:picMk id="48" creationId="{763ECDF0-7F7D-4EBF-B6ED-1EE5E3317FDD}"/>
          </ac:picMkLst>
        </pc:picChg>
        <pc:picChg chg="del">
          <ac:chgData name="Minh-Kha Nguyen" userId="73ea909082ace275" providerId="LiveId" clId="{B1554112-6404-403C-A743-7FE3323E2177}" dt="2020-04-04T19:25:53.476" v="5316" actId="478"/>
          <ac:picMkLst>
            <pc:docMk/>
            <pc:sldMk cId="3588691537" sldId="347"/>
            <ac:picMk id="49" creationId="{0ABF9EE0-E7FC-458B-87D0-F00BB780629B}"/>
          </ac:picMkLst>
        </pc:picChg>
        <pc:picChg chg="add mod">
          <ac:chgData name="Minh-Kha Nguyen" userId="73ea909082ace275" providerId="LiveId" clId="{B1554112-6404-403C-A743-7FE3323E2177}" dt="2020-04-04T19:30:33.570" v="5602" actId="14100"/>
          <ac:picMkLst>
            <pc:docMk/>
            <pc:sldMk cId="3588691537" sldId="347"/>
            <ac:picMk id="54" creationId="{7EEC70DF-5C76-4CFC-90E1-2E6B632301AE}"/>
          </ac:picMkLst>
        </pc:picChg>
        <pc:picChg chg="add mod">
          <ac:chgData name="Minh-Kha Nguyen" userId="73ea909082ace275" providerId="LiveId" clId="{B1554112-6404-403C-A743-7FE3323E2177}" dt="2020-04-04T19:30:54.877" v="5610" actId="1076"/>
          <ac:picMkLst>
            <pc:docMk/>
            <pc:sldMk cId="3588691537" sldId="347"/>
            <ac:picMk id="55" creationId="{AB118F61-2A5F-4601-B3AB-E741F63D540A}"/>
          </ac:picMkLst>
        </pc:picChg>
        <pc:picChg chg="add mod">
          <ac:chgData name="Minh-Kha Nguyen" userId="73ea909082ace275" providerId="LiveId" clId="{B1554112-6404-403C-A743-7FE3323E2177}" dt="2020-04-04T19:31:12.925" v="5621" actId="1076"/>
          <ac:picMkLst>
            <pc:docMk/>
            <pc:sldMk cId="3588691537" sldId="347"/>
            <ac:picMk id="56" creationId="{8F973880-2FBA-470B-9955-0BF6ADFF2574}"/>
          </ac:picMkLst>
        </pc:picChg>
        <pc:picChg chg="add mod">
          <ac:chgData name="Minh-Kha Nguyen" userId="73ea909082ace275" providerId="LiveId" clId="{B1554112-6404-403C-A743-7FE3323E2177}" dt="2020-04-04T19:31:21.951" v="5625" actId="1076"/>
          <ac:picMkLst>
            <pc:docMk/>
            <pc:sldMk cId="3588691537" sldId="347"/>
            <ac:picMk id="57" creationId="{920D0F61-3E97-4277-AFED-BAD6FF75D0F1}"/>
          </ac:picMkLst>
        </pc:picChg>
        <pc:picChg chg="add">
          <ac:chgData name="Minh-Kha Nguyen" userId="73ea909082ace275" providerId="LiveId" clId="{B1554112-6404-403C-A743-7FE3323E2177}" dt="2020-04-04T19:45:28.298" v="5980"/>
          <ac:picMkLst>
            <pc:docMk/>
            <pc:sldMk cId="3588691537" sldId="347"/>
            <ac:picMk id="65" creationId="{BE617F26-A0A1-465A-97E3-4B4683F1C065}"/>
          </ac:picMkLst>
        </pc:picChg>
      </pc:sldChg>
      <pc:sldChg chg="addSp delSp modSp add del mod delAnim modAnim">
        <pc:chgData name="Minh-Kha Nguyen" userId="73ea909082ace275" providerId="LiveId" clId="{B1554112-6404-403C-A743-7FE3323E2177}" dt="2020-04-04T19:38:52.958" v="5761" actId="47"/>
        <pc:sldMkLst>
          <pc:docMk/>
          <pc:sldMk cId="136015233" sldId="348"/>
        </pc:sldMkLst>
        <pc:spChg chg="add mod">
          <ac:chgData name="Minh-Kha Nguyen" userId="73ea909082ace275" providerId="LiveId" clId="{B1554112-6404-403C-A743-7FE3323E2177}" dt="2020-04-04T19:34:14.724" v="5713" actId="164"/>
          <ac:spMkLst>
            <pc:docMk/>
            <pc:sldMk cId="136015233" sldId="348"/>
            <ac:spMk id="12" creationId="{6A406086-E1AF-4A71-8129-A041F24A394D}"/>
          </ac:spMkLst>
        </pc:spChg>
        <pc:grpChg chg="add del mod">
          <ac:chgData name="Minh-Kha Nguyen" userId="73ea909082ace275" providerId="LiveId" clId="{B1554112-6404-403C-A743-7FE3323E2177}" dt="2020-04-04T19:38:32.014" v="5759" actId="21"/>
          <ac:grpSpMkLst>
            <pc:docMk/>
            <pc:sldMk cId="136015233" sldId="348"/>
            <ac:grpSpMk id="9" creationId="{037E309F-4F0F-4B3D-B1E4-8C19056738C5}"/>
          </ac:grpSpMkLst>
        </pc:grpChg>
        <pc:picChg chg="add mod">
          <ac:chgData name="Minh-Kha Nguyen" userId="73ea909082ace275" providerId="LiveId" clId="{B1554112-6404-403C-A743-7FE3323E2177}" dt="2020-04-04T19:34:14.724" v="5713" actId="164"/>
          <ac:picMkLst>
            <pc:docMk/>
            <pc:sldMk cId="136015233" sldId="348"/>
            <ac:picMk id="5" creationId="{3AB78BA2-FECA-438C-BEEB-BEC709A0725E}"/>
          </ac:picMkLst>
        </pc:picChg>
        <pc:picChg chg="add mod">
          <ac:chgData name="Minh-Kha Nguyen" userId="73ea909082ace275" providerId="LiveId" clId="{B1554112-6404-403C-A743-7FE3323E2177}" dt="2020-04-04T19:34:14.724" v="5713" actId="164"/>
          <ac:picMkLst>
            <pc:docMk/>
            <pc:sldMk cId="136015233" sldId="348"/>
            <ac:picMk id="8" creationId="{14EE297A-9576-4410-B8F5-B7667F08AED2}"/>
          </ac:picMkLst>
        </pc:picChg>
        <pc:picChg chg="add mod">
          <ac:chgData name="Minh-Kha Nguyen" userId="73ea909082ace275" providerId="LiveId" clId="{B1554112-6404-403C-A743-7FE3323E2177}" dt="2020-04-04T19:34:14.724" v="5713" actId="164"/>
          <ac:picMkLst>
            <pc:docMk/>
            <pc:sldMk cId="136015233" sldId="348"/>
            <ac:picMk id="19" creationId="{8B067670-F378-4ADF-9835-3D113D7C96B2}"/>
          </ac:picMkLst>
        </pc:picChg>
        <pc:picChg chg="add mod">
          <ac:chgData name="Minh-Kha Nguyen" userId="73ea909082ace275" providerId="LiveId" clId="{B1554112-6404-403C-A743-7FE3323E2177}" dt="2020-04-04T19:34:14.724" v="5713" actId="164"/>
          <ac:picMkLst>
            <pc:docMk/>
            <pc:sldMk cId="136015233" sldId="348"/>
            <ac:picMk id="20" creationId="{3CD98778-4884-45CB-BBD8-81CE4489BC48}"/>
          </ac:picMkLst>
        </pc:picChg>
      </pc:sldChg>
      <pc:sldChg chg="addSp delSp modSp add mod modTransition modAnim">
        <pc:chgData name="Minh-Kha Nguyen" userId="73ea909082ace275" providerId="LiveId" clId="{B1554112-6404-403C-A743-7FE3323E2177}" dt="2020-04-05T09:31:36.278" v="12511"/>
        <pc:sldMkLst>
          <pc:docMk/>
          <pc:sldMk cId="1087715270" sldId="348"/>
        </pc:sldMkLst>
        <pc:spChg chg="del">
          <ac:chgData name="Minh-Kha Nguyen" userId="73ea909082ace275" providerId="LiveId" clId="{B1554112-6404-403C-A743-7FE3323E2177}" dt="2020-04-05T09:31:25.803" v="12484" actId="478"/>
          <ac:spMkLst>
            <pc:docMk/>
            <pc:sldMk cId="1087715270" sldId="348"/>
            <ac:spMk id="2" creationId="{16E0F010-D42B-41EF-9A76-EA4A5F1FFE2A}"/>
          </ac:spMkLst>
        </pc:spChg>
        <pc:spChg chg="add mod ord">
          <ac:chgData name="Minh-Kha Nguyen" userId="73ea909082ace275" providerId="LiveId" clId="{B1554112-6404-403C-A743-7FE3323E2177}" dt="2020-04-05T09:31:36.262" v="12493"/>
          <ac:spMkLst>
            <pc:docMk/>
            <pc:sldMk cId="1087715270" sldId="348"/>
            <ac:spMk id="20" creationId="{30C82555-0CE0-4778-B13E-4A3ACC0A79EC}"/>
          </ac:spMkLst>
        </pc:spChg>
        <pc:spChg chg="mod ord">
          <ac:chgData name="Minh-Kha Nguyen" userId="73ea909082ace275" providerId="LiveId" clId="{B1554112-6404-403C-A743-7FE3323E2177}" dt="2020-04-05T09:31:36.265" v="12497"/>
          <ac:spMkLst>
            <pc:docMk/>
            <pc:sldMk cId="1087715270" sldId="348"/>
            <ac:spMk id="53" creationId="{DF757115-A928-49BE-8D6A-23E4CA4FE65C}"/>
          </ac:spMkLst>
        </pc:spChg>
        <pc:grpChg chg="add del mod ord">
          <ac:chgData name="Minh-Kha Nguyen" userId="73ea909082ace275" providerId="LiveId" clId="{B1554112-6404-403C-A743-7FE3323E2177}" dt="2020-04-05T09:31:36.272" v="12507"/>
          <ac:grpSpMkLst>
            <pc:docMk/>
            <pc:sldMk cId="1087715270" sldId="348"/>
            <ac:grpSpMk id="59" creationId="{459D8228-04A2-4A25-977B-C470D66E3DD9}"/>
          </ac:grpSpMkLst>
        </pc:grpChg>
        <pc:graphicFrameChg chg="mod ord">
          <ac:chgData name="Minh-Kha Nguyen" userId="73ea909082ace275" providerId="LiveId" clId="{B1554112-6404-403C-A743-7FE3323E2177}" dt="2020-04-05T09:31:36.278" v="12511"/>
          <ac:graphicFrameMkLst>
            <pc:docMk/>
            <pc:sldMk cId="1087715270" sldId="348"/>
            <ac:graphicFrameMk id="4" creationId="{0335BD31-9BEB-4951-908E-6DF29B0B511F}"/>
          </ac:graphicFrameMkLst>
        </pc:graphicFrameChg>
        <pc:picChg chg="add del mod">
          <ac:chgData name="Minh-Kha Nguyen" userId="73ea909082ace275" providerId="LiveId" clId="{B1554112-6404-403C-A743-7FE3323E2177}" dt="2020-04-04T19:41:18.987" v="5805" actId="478"/>
          <ac:picMkLst>
            <pc:docMk/>
            <pc:sldMk cId="1087715270" sldId="348"/>
            <ac:picMk id="5" creationId="{851AB52C-6C44-438C-A9A3-277E60662779}"/>
          </ac:picMkLst>
        </pc:picChg>
        <pc:picChg chg="del">
          <ac:chgData name="Minh-Kha Nguyen" userId="73ea909082ace275" providerId="LiveId" clId="{B1554112-6404-403C-A743-7FE3323E2177}" dt="2020-04-05T09:31:25.803" v="12484" actId="478"/>
          <ac:picMkLst>
            <pc:docMk/>
            <pc:sldMk cId="1087715270" sldId="348"/>
            <ac:picMk id="6" creationId="{182F4DCE-3821-4CD2-9A16-8FB1B79D4BB7}"/>
          </ac:picMkLst>
        </pc:picChg>
        <pc:picChg chg="add del mod">
          <ac:chgData name="Minh-Kha Nguyen" userId="73ea909082ace275" providerId="LiveId" clId="{B1554112-6404-403C-A743-7FE3323E2177}" dt="2020-04-04T19:41:39.798" v="5807" actId="478"/>
          <ac:picMkLst>
            <pc:docMk/>
            <pc:sldMk cId="1087715270" sldId="348"/>
            <ac:picMk id="8" creationId="{C4CCAF88-7249-41A6-B9B8-6945EB2AE93C}"/>
          </ac:picMkLst>
        </pc:picChg>
        <pc:picChg chg="add mod ord">
          <ac:chgData name="Minh-Kha Nguyen" userId="73ea909082ace275" providerId="LiveId" clId="{B1554112-6404-403C-A743-7FE3323E2177}" dt="2020-04-05T09:31:36.273" v="12509"/>
          <ac:picMkLst>
            <pc:docMk/>
            <pc:sldMk cId="1087715270" sldId="348"/>
            <ac:picMk id="10" creationId="{8BFE1F0C-74B2-4CE2-A35B-84C8ADA0A4F9}"/>
          </ac:picMkLst>
        </pc:picChg>
        <pc:picChg chg="mod ord">
          <ac:chgData name="Minh-Kha Nguyen" userId="73ea909082ace275" providerId="LiveId" clId="{B1554112-6404-403C-A743-7FE3323E2177}" dt="2020-04-05T09:31:36.259" v="12489"/>
          <ac:picMkLst>
            <pc:docMk/>
            <pc:sldMk cId="1087715270" sldId="348"/>
            <ac:picMk id="17" creationId="{2F606D26-F79F-4D99-B07C-3C3AAF0FA74A}"/>
          </ac:picMkLst>
        </pc:picChg>
        <pc:picChg chg="mod ord">
          <ac:chgData name="Minh-Kha Nguyen" userId="73ea909082ace275" providerId="LiveId" clId="{B1554112-6404-403C-A743-7FE3323E2177}" dt="2020-04-05T09:31:36.264" v="12495"/>
          <ac:picMkLst>
            <pc:docMk/>
            <pc:sldMk cId="1087715270" sldId="348"/>
            <ac:picMk id="18" creationId="{5124EB5F-3FAA-451C-A6A9-3984A075296B}"/>
          </ac:picMkLst>
        </pc:picChg>
        <pc:picChg chg="add mod ord">
          <ac:chgData name="Minh-Kha Nguyen" userId="73ea909082ace275" providerId="LiveId" clId="{B1554112-6404-403C-A743-7FE3323E2177}" dt="2020-04-05T09:31:36.261" v="12491"/>
          <ac:picMkLst>
            <pc:docMk/>
            <pc:sldMk cId="1087715270" sldId="348"/>
            <ac:picMk id="19" creationId="{BAEA6332-D22E-4BD9-9E7F-ADE97AFC2F27}"/>
          </ac:picMkLst>
        </pc:picChg>
        <pc:picChg chg="mod ord">
          <ac:chgData name="Minh-Kha Nguyen" userId="73ea909082ace275" providerId="LiveId" clId="{B1554112-6404-403C-A743-7FE3323E2177}" dt="2020-04-05T09:31:36.267" v="12499"/>
          <ac:picMkLst>
            <pc:docMk/>
            <pc:sldMk cId="1087715270" sldId="348"/>
            <ac:picMk id="54" creationId="{7EEC70DF-5C76-4CFC-90E1-2E6B632301AE}"/>
          </ac:picMkLst>
        </pc:picChg>
        <pc:picChg chg="mod ord">
          <ac:chgData name="Minh-Kha Nguyen" userId="73ea909082ace275" providerId="LiveId" clId="{B1554112-6404-403C-A743-7FE3323E2177}" dt="2020-04-05T09:31:36.268" v="12501"/>
          <ac:picMkLst>
            <pc:docMk/>
            <pc:sldMk cId="1087715270" sldId="348"/>
            <ac:picMk id="55" creationId="{AB118F61-2A5F-4601-B3AB-E741F63D540A}"/>
          </ac:picMkLst>
        </pc:picChg>
        <pc:picChg chg="mod ord">
          <ac:chgData name="Minh-Kha Nguyen" userId="73ea909082ace275" providerId="LiveId" clId="{B1554112-6404-403C-A743-7FE3323E2177}" dt="2020-04-05T09:31:36.269" v="12503"/>
          <ac:picMkLst>
            <pc:docMk/>
            <pc:sldMk cId="1087715270" sldId="348"/>
            <ac:picMk id="56" creationId="{8F973880-2FBA-470B-9955-0BF6ADFF2574}"/>
          </ac:picMkLst>
        </pc:picChg>
        <pc:picChg chg="mod ord">
          <ac:chgData name="Minh-Kha Nguyen" userId="73ea909082ace275" providerId="LiveId" clId="{B1554112-6404-403C-A743-7FE3323E2177}" dt="2020-04-05T09:31:36.270" v="12505"/>
          <ac:picMkLst>
            <pc:docMk/>
            <pc:sldMk cId="1087715270" sldId="348"/>
            <ac:picMk id="57" creationId="{920D0F61-3E97-4277-AFED-BAD6FF75D0F1}"/>
          </ac:picMkLst>
        </pc:picChg>
      </pc:sldChg>
      <pc:sldChg chg="addSp delSp modSp add del mod modTransition">
        <pc:chgData name="Minh-Kha Nguyen" userId="73ea909082ace275" providerId="LiveId" clId="{B1554112-6404-403C-A743-7FE3323E2177}" dt="2020-04-05T07:58:03.745" v="11107" actId="47"/>
        <pc:sldMkLst>
          <pc:docMk/>
          <pc:sldMk cId="663102604" sldId="349"/>
        </pc:sldMkLst>
        <pc:spChg chg="del">
          <ac:chgData name="Minh-Kha Nguyen" userId="73ea909082ace275" providerId="LiveId" clId="{B1554112-6404-403C-A743-7FE3323E2177}" dt="2020-04-04T19:56:40.413" v="6466" actId="478"/>
          <ac:spMkLst>
            <pc:docMk/>
            <pc:sldMk cId="663102604" sldId="349"/>
            <ac:spMk id="2" creationId="{16E0F010-D42B-41EF-9A76-EA4A5F1FFE2A}"/>
          </ac:spMkLst>
        </pc:spChg>
        <pc:spChg chg="add del mod ord">
          <ac:chgData name="Minh-Kha Nguyen" userId="73ea909082ace275" providerId="LiveId" clId="{B1554112-6404-403C-A743-7FE3323E2177}" dt="2020-04-05T07:55:39.822" v="11098" actId="478"/>
          <ac:spMkLst>
            <pc:docMk/>
            <pc:sldMk cId="663102604" sldId="349"/>
            <ac:spMk id="3" creationId="{2CD8122E-8A66-4F65-9740-7DC1B59991AD}"/>
          </ac:spMkLst>
        </pc:spChg>
        <pc:spChg chg="add del mod ord">
          <ac:chgData name="Minh-Kha Nguyen" userId="73ea909082ace275" providerId="LiveId" clId="{B1554112-6404-403C-A743-7FE3323E2177}" dt="2020-04-05T07:55:39.822" v="11098" actId="478"/>
          <ac:spMkLst>
            <pc:docMk/>
            <pc:sldMk cId="663102604" sldId="349"/>
            <ac:spMk id="8" creationId="{CCE6CBF3-DE61-4DDF-94B4-4B6B7D9577E7}"/>
          </ac:spMkLst>
        </pc:spChg>
        <pc:spChg chg="add">
          <ac:chgData name="Minh-Kha Nguyen" userId="73ea909082ace275" providerId="LiveId" clId="{B1554112-6404-403C-A743-7FE3323E2177}" dt="2020-04-05T07:55:50.145" v="11099"/>
          <ac:spMkLst>
            <pc:docMk/>
            <pc:sldMk cId="663102604" sldId="349"/>
            <ac:spMk id="27" creationId="{B00C6F5D-6011-420D-A227-A4C5FD3A3B17}"/>
          </ac:spMkLst>
        </pc:spChg>
        <pc:spChg chg="mod ord">
          <ac:chgData name="Minh-Kha Nguyen" userId="73ea909082ace275" providerId="LiveId" clId="{B1554112-6404-403C-A743-7FE3323E2177}" dt="2020-04-04T20:23:06.478" v="7333"/>
          <ac:spMkLst>
            <pc:docMk/>
            <pc:sldMk cId="663102604" sldId="349"/>
            <ac:spMk id="53" creationId="{DF757115-A928-49BE-8D6A-23E4CA4FE65C}"/>
          </ac:spMkLst>
        </pc:spChg>
        <pc:grpChg chg="mod ord">
          <ac:chgData name="Minh-Kha Nguyen" userId="73ea909082ace275" providerId="LiveId" clId="{B1554112-6404-403C-A743-7FE3323E2177}" dt="2020-04-04T20:23:06.483" v="7343"/>
          <ac:grpSpMkLst>
            <pc:docMk/>
            <pc:sldMk cId="663102604" sldId="349"/>
            <ac:grpSpMk id="59" creationId="{459D8228-04A2-4A25-977B-C470D66E3DD9}"/>
          </ac:grpSpMkLst>
        </pc:grpChg>
        <pc:graphicFrameChg chg="mod ord">
          <ac:chgData name="Minh-Kha Nguyen" userId="73ea909082ace275" providerId="LiveId" clId="{B1554112-6404-403C-A743-7FE3323E2177}" dt="2020-04-04T20:23:06.493" v="7359"/>
          <ac:graphicFrameMkLst>
            <pc:docMk/>
            <pc:sldMk cId="663102604" sldId="349"/>
            <ac:graphicFrameMk id="4" creationId="{0335BD31-9BEB-4951-908E-6DF29B0B511F}"/>
          </ac:graphicFrameMkLst>
        </pc:graphicFrameChg>
        <pc:picChg chg="mod ord">
          <ac:chgData name="Minh-Kha Nguyen" userId="73ea909082ace275" providerId="LiveId" clId="{B1554112-6404-403C-A743-7FE3323E2177}" dt="2020-04-04T20:23:06.476" v="7329"/>
          <ac:picMkLst>
            <pc:docMk/>
            <pc:sldMk cId="663102604" sldId="349"/>
            <ac:picMk id="6" creationId="{182F4DCE-3821-4CD2-9A16-8FB1B79D4BB7}"/>
          </ac:picMkLst>
        </pc:picChg>
        <pc:picChg chg="add del mod ord">
          <ac:chgData name="Minh-Kha Nguyen" userId="73ea909082ace275" providerId="LiveId" clId="{B1554112-6404-403C-A743-7FE3323E2177}" dt="2020-04-05T07:55:39.822" v="11098" actId="478"/>
          <ac:picMkLst>
            <pc:docMk/>
            <pc:sldMk cId="663102604" sldId="349"/>
            <ac:picMk id="7" creationId="{FC6A73B6-536F-408E-810E-4BE805091326}"/>
          </ac:picMkLst>
        </pc:picChg>
        <pc:picChg chg="mod ord">
          <ac:chgData name="Minh-Kha Nguyen" userId="73ea909082ace275" providerId="LiveId" clId="{B1554112-6404-403C-A743-7FE3323E2177}" dt="2020-04-04T20:23:06.484" v="7345"/>
          <ac:picMkLst>
            <pc:docMk/>
            <pc:sldMk cId="663102604" sldId="349"/>
            <ac:picMk id="10" creationId="{8BFE1F0C-74B2-4CE2-A35B-84C8ADA0A4F9}"/>
          </ac:picMkLst>
        </pc:picChg>
        <pc:picChg chg="add del mod">
          <ac:chgData name="Minh-Kha Nguyen" userId="73ea909082ace275" providerId="LiveId" clId="{B1554112-6404-403C-A743-7FE3323E2177}" dt="2020-04-04T21:56:32.253" v="10706" actId="21"/>
          <ac:picMkLst>
            <pc:docMk/>
            <pc:sldMk cId="663102604" sldId="349"/>
            <ac:picMk id="11" creationId="{93FE078F-6962-4C72-9026-CDC7A9F5C587}"/>
          </ac:picMkLst>
        </pc:picChg>
        <pc:picChg chg="mod ord">
          <ac:chgData name="Minh-Kha Nguyen" userId="73ea909082ace275" providerId="LiveId" clId="{B1554112-6404-403C-A743-7FE3323E2177}" dt="2020-04-04T20:23:06.474" v="7325"/>
          <ac:picMkLst>
            <pc:docMk/>
            <pc:sldMk cId="663102604" sldId="349"/>
            <ac:picMk id="17" creationId="{2F606D26-F79F-4D99-B07C-3C3AAF0FA74A}"/>
          </ac:picMkLst>
        </pc:picChg>
        <pc:picChg chg="mod ord">
          <ac:chgData name="Minh-Kha Nguyen" userId="73ea909082ace275" providerId="LiveId" clId="{B1554112-6404-403C-A743-7FE3323E2177}" dt="2020-04-04T20:23:06.477" v="7331"/>
          <ac:picMkLst>
            <pc:docMk/>
            <pc:sldMk cId="663102604" sldId="349"/>
            <ac:picMk id="18" creationId="{5124EB5F-3FAA-451C-A6A9-3984A075296B}"/>
          </ac:picMkLst>
        </pc:picChg>
        <pc:picChg chg="add mod ord">
          <ac:chgData name="Minh-Kha Nguyen" userId="73ea909082ace275" providerId="LiveId" clId="{B1554112-6404-403C-A743-7FE3323E2177}" dt="2020-04-04T20:23:06.486" v="7351"/>
          <ac:picMkLst>
            <pc:docMk/>
            <pc:sldMk cId="663102604" sldId="349"/>
            <ac:picMk id="23" creationId="{4E44B59B-3ED7-48E6-8158-CDB2807A237F}"/>
          </ac:picMkLst>
        </pc:picChg>
        <pc:picChg chg="add mod ord">
          <ac:chgData name="Minh-Kha Nguyen" userId="73ea909082ace275" providerId="LiveId" clId="{B1554112-6404-403C-A743-7FE3323E2177}" dt="2020-04-04T20:23:06.487" v="7353"/>
          <ac:picMkLst>
            <pc:docMk/>
            <pc:sldMk cId="663102604" sldId="349"/>
            <ac:picMk id="24" creationId="{6EFA993C-06AE-4570-B2CA-ECFFA2AC8750}"/>
          </ac:picMkLst>
        </pc:picChg>
        <pc:picChg chg="add mod ord">
          <ac:chgData name="Minh-Kha Nguyen" userId="73ea909082ace275" providerId="LiveId" clId="{B1554112-6404-403C-A743-7FE3323E2177}" dt="2020-04-04T20:23:06.488" v="7355"/>
          <ac:picMkLst>
            <pc:docMk/>
            <pc:sldMk cId="663102604" sldId="349"/>
            <ac:picMk id="25" creationId="{61F73522-FD9D-4105-A277-B0A69DAEA92F}"/>
          </ac:picMkLst>
        </pc:picChg>
        <pc:picChg chg="add mod ord">
          <ac:chgData name="Minh-Kha Nguyen" userId="73ea909082ace275" providerId="LiveId" clId="{B1554112-6404-403C-A743-7FE3323E2177}" dt="2020-04-04T20:23:06.489" v="7357"/>
          <ac:picMkLst>
            <pc:docMk/>
            <pc:sldMk cId="663102604" sldId="349"/>
            <ac:picMk id="26" creationId="{9399E373-0444-4898-B407-9C4FF664EEE6}"/>
          </ac:picMkLst>
        </pc:picChg>
        <pc:picChg chg="mod ord">
          <ac:chgData name="Minh-Kha Nguyen" userId="73ea909082ace275" providerId="LiveId" clId="{B1554112-6404-403C-A743-7FE3323E2177}" dt="2020-04-04T20:23:06.479" v="7335"/>
          <ac:picMkLst>
            <pc:docMk/>
            <pc:sldMk cId="663102604" sldId="349"/>
            <ac:picMk id="54" creationId="{7EEC70DF-5C76-4CFC-90E1-2E6B632301AE}"/>
          </ac:picMkLst>
        </pc:picChg>
        <pc:picChg chg="mod ord">
          <ac:chgData name="Minh-Kha Nguyen" userId="73ea909082ace275" providerId="LiveId" clId="{B1554112-6404-403C-A743-7FE3323E2177}" dt="2020-04-04T20:23:06.480" v="7337"/>
          <ac:picMkLst>
            <pc:docMk/>
            <pc:sldMk cId="663102604" sldId="349"/>
            <ac:picMk id="55" creationId="{AB118F61-2A5F-4601-B3AB-E741F63D540A}"/>
          </ac:picMkLst>
        </pc:picChg>
        <pc:picChg chg="mod ord">
          <ac:chgData name="Minh-Kha Nguyen" userId="73ea909082ace275" providerId="LiveId" clId="{B1554112-6404-403C-A743-7FE3323E2177}" dt="2020-04-04T20:23:06.481" v="7339"/>
          <ac:picMkLst>
            <pc:docMk/>
            <pc:sldMk cId="663102604" sldId="349"/>
            <ac:picMk id="56" creationId="{8F973880-2FBA-470B-9955-0BF6ADFF2574}"/>
          </ac:picMkLst>
        </pc:picChg>
        <pc:picChg chg="mod ord">
          <ac:chgData name="Minh-Kha Nguyen" userId="73ea909082ace275" providerId="LiveId" clId="{B1554112-6404-403C-A743-7FE3323E2177}" dt="2020-04-04T20:23:06.482" v="7341"/>
          <ac:picMkLst>
            <pc:docMk/>
            <pc:sldMk cId="663102604" sldId="349"/>
            <ac:picMk id="57" creationId="{920D0F61-3E97-4277-AFED-BAD6FF75D0F1}"/>
          </ac:picMkLst>
        </pc:picChg>
      </pc:sldChg>
      <pc:sldChg chg="add modTransition">
        <pc:chgData name="Minh-Kha Nguyen" userId="73ea909082ace275" providerId="LiveId" clId="{B1554112-6404-403C-A743-7FE3323E2177}" dt="2020-04-04T20:08:47.158" v="6470"/>
        <pc:sldMkLst>
          <pc:docMk/>
          <pc:sldMk cId="2683962428" sldId="350"/>
        </pc:sldMkLst>
      </pc:sldChg>
      <pc:sldChg chg="addSp delSp modSp add mod modTransition setBg modAnim">
        <pc:chgData name="Minh-Kha Nguyen" userId="73ea909082ace275" providerId="LiveId" clId="{B1554112-6404-403C-A743-7FE3323E2177}" dt="2020-04-05T11:16:04.823" v="13085"/>
        <pc:sldMkLst>
          <pc:docMk/>
          <pc:sldMk cId="3894678253" sldId="351"/>
        </pc:sldMkLst>
        <pc:spChg chg="del mod ord">
          <ac:chgData name="Minh-Kha Nguyen" userId="73ea909082ace275" providerId="LiveId" clId="{B1554112-6404-403C-A743-7FE3323E2177}" dt="2020-04-05T11:15:58.658" v="13082" actId="478"/>
          <ac:spMkLst>
            <pc:docMk/>
            <pc:sldMk cId="3894678253" sldId="351"/>
            <ac:spMk id="3" creationId="{2CD8122E-8A66-4F65-9740-7DC1B59991AD}"/>
          </ac:spMkLst>
        </pc:spChg>
        <pc:spChg chg="del mod ord">
          <ac:chgData name="Minh-Kha Nguyen" userId="73ea909082ace275" providerId="LiveId" clId="{B1554112-6404-403C-A743-7FE3323E2177}" dt="2020-04-04T20:34:51.515" v="8054" actId="478"/>
          <ac:spMkLst>
            <pc:docMk/>
            <pc:sldMk cId="3894678253" sldId="351"/>
            <ac:spMk id="8" creationId="{CCE6CBF3-DE61-4DDF-94B4-4B6B7D9577E7}"/>
          </ac:spMkLst>
        </pc:spChg>
        <pc:spChg chg="add">
          <ac:chgData name="Minh-Kha Nguyen" userId="73ea909082ace275" providerId="LiveId" clId="{B1554112-6404-403C-A743-7FE3323E2177}" dt="2020-04-04T20:34:51.741" v="8055"/>
          <ac:spMkLst>
            <pc:docMk/>
            <pc:sldMk cId="3894678253" sldId="351"/>
            <ac:spMk id="27" creationId="{49645FBE-1019-4001-9A9B-AE668FB9B1C5}"/>
          </ac:spMkLst>
        </pc:spChg>
        <pc:spChg chg="add mod">
          <ac:chgData name="Minh-Kha Nguyen" userId="73ea909082ace275" providerId="LiveId" clId="{B1554112-6404-403C-A743-7FE3323E2177}" dt="2020-04-05T08:52:46.535" v="11154" actId="1037"/>
          <ac:spMkLst>
            <pc:docMk/>
            <pc:sldMk cId="3894678253" sldId="351"/>
            <ac:spMk id="29" creationId="{CDEE388A-A40D-4324-8B09-889955668D19}"/>
          </ac:spMkLst>
        </pc:spChg>
        <pc:spChg chg="add mod">
          <ac:chgData name="Minh-Kha Nguyen" userId="73ea909082ace275" providerId="LiveId" clId="{B1554112-6404-403C-A743-7FE3323E2177}" dt="2020-04-05T08:52:51.081" v="11156" actId="1076"/>
          <ac:spMkLst>
            <pc:docMk/>
            <pc:sldMk cId="3894678253" sldId="351"/>
            <ac:spMk id="30" creationId="{E8B35DA4-E604-4B08-B95E-13C915B33CDF}"/>
          </ac:spMkLst>
        </pc:spChg>
        <pc:spChg chg="add mod">
          <ac:chgData name="Minh-Kha Nguyen" userId="73ea909082ace275" providerId="LiveId" clId="{B1554112-6404-403C-A743-7FE3323E2177}" dt="2020-04-05T08:52:58.983" v="11158" actId="1076"/>
          <ac:spMkLst>
            <pc:docMk/>
            <pc:sldMk cId="3894678253" sldId="351"/>
            <ac:spMk id="31" creationId="{94012320-B3D5-49BE-83D4-93325DCC16B2}"/>
          </ac:spMkLst>
        </pc:spChg>
        <pc:spChg chg="add mod">
          <ac:chgData name="Minh-Kha Nguyen" userId="73ea909082ace275" providerId="LiveId" clId="{B1554112-6404-403C-A743-7FE3323E2177}" dt="2020-04-05T08:53:04.870" v="11170" actId="1037"/>
          <ac:spMkLst>
            <pc:docMk/>
            <pc:sldMk cId="3894678253" sldId="351"/>
            <ac:spMk id="32" creationId="{A9B0499C-BEBE-48B9-B1D5-A97482908612}"/>
          </ac:spMkLst>
        </pc:spChg>
        <pc:spChg chg="add mod">
          <ac:chgData name="Minh-Kha Nguyen" userId="73ea909082ace275" providerId="LiveId" clId="{B1554112-6404-403C-A743-7FE3323E2177}" dt="2020-04-05T08:53:09.166" v="11174" actId="1038"/>
          <ac:spMkLst>
            <pc:docMk/>
            <pc:sldMk cId="3894678253" sldId="351"/>
            <ac:spMk id="33" creationId="{5BF6D667-FEBF-4C22-B46C-67BE212C49B0}"/>
          </ac:spMkLst>
        </pc:spChg>
        <pc:spChg chg="add del mod">
          <ac:chgData name="Minh-Kha Nguyen" userId="73ea909082ace275" providerId="LiveId" clId="{B1554112-6404-403C-A743-7FE3323E2177}" dt="2020-04-04T21:54:39.653" v="10703" actId="478"/>
          <ac:spMkLst>
            <pc:docMk/>
            <pc:sldMk cId="3894678253" sldId="351"/>
            <ac:spMk id="34" creationId="{420DD87A-6AB8-47A2-8D37-47CEEF3197F0}"/>
          </ac:spMkLst>
        </pc:spChg>
        <pc:spChg chg="add mod">
          <ac:chgData name="Minh-Kha Nguyen" userId="73ea909082ace275" providerId="LiveId" clId="{B1554112-6404-403C-A743-7FE3323E2177}" dt="2020-04-05T09:01:29.822" v="11417" actId="20577"/>
          <ac:spMkLst>
            <pc:docMk/>
            <pc:sldMk cId="3894678253" sldId="351"/>
            <ac:spMk id="34" creationId="{A3B14F13-59EA-48E4-B835-D830432809A5}"/>
          </ac:spMkLst>
        </pc:spChg>
        <pc:spChg chg="add del mod">
          <ac:chgData name="Minh-Kha Nguyen" userId="73ea909082ace275" providerId="LiveId" clId="{B1554112-6404-403C-A743-7FE3323E2177}" dt="2020-04-04T21:54:39.653" v="10703" actId="478"/>
          <ac:spMkLst>
            <pc:docMk/>
            <pc:sldMk cId="3894678253" sldId="351"/>
            <ac:spMk id="35" creationId="{D6FFB351-638A-4C43-A564-B14049D28BA1}"/>
          </ac:spMkLst>
        </pc:spChg>
        <pc:spChg chg="add del mod">
          <ac:chgData name="Minh-Kha Nguyen" userId="73ea909082ace275" providerId="LiveId" clId="{B1554112-6404-403C-A743-7FE3323E2177}" dt="2020-04-04T21:54:39.653" v="10703" actId="478"/>
          <ac:spMkLst>
            <pc:docMk/>
            <pc:sldMk cId="3894678253" sldId="351"/>
            <ac:spMk id="36" creationId="{D6631458-98CE-499D-8B69-35B36AA22313}"/>
          </ac:spMkLst>
        </pc:spChg>
        <pc:spChg chg="add del mod">
          <ac:chgData name="Minh-Kha Nguyen" userId="73ea909082ace275" providerId="LiveId" clId="{B1554112-6404-403C-A743-7FE3323E2177}" dt="2020-04-04T21:54:39.653" v="10703" actId="478"/>
          <ac:spMkLst>
            <pc:docMk/>
            <pc:sldMk cId="3894678253" sldId="351"/>
            <ac:spMk id="37" creationId="{A7569D8A-BDBD-406E-9E1D-A4C97DE34614}"/>
          </ac:spMkLst>
        </pc:spChg>
        <pc:spChg chg="add del">
          <ac:chgData name="Minh-Kha Nguyen" userId="73ea909082ace275" providerId="LiveId" clId="{B1554112-6404-403C-A743-7FE3323E2177}" dt="2020-04-05T09:01:23.621" v="11397" actId="478"/>
          <ac:spMkLst>
            <pc:docMk/>
            <pc:sldMk cId="3894678253" sldId="351"/>
            <ac:spMk id="42" creationId="{5983820A-905E-4AB0-A938-E43F3B9C2F8F}"/>
          </ac:spMkLst>
        </pc:spChg>
        <pc:spChg chg="add del">
          <ac:chgData name="Minh-Kha Nguyen" userId="73ea909082ace275" providerId="LiveId" clId="{B1554112-6404-403C-A743-7FE3323E2177}" dt="2020-04-05T09:01:23.621" v="11397" actId="478"/>
          <ac:spMkLst>
            <pc:docMk/>
            <pc:sldMk cId="3894678253" sldId="351"/>
            <ac:spMk id="43" creationId="{11D3EB9A-54A9-48D1-A786-38636FC95064}"/>
          </ac:spMkLst>
        </pc:spChg>
        <pc:spChg chg="add del">
          <ac:chgData name="Minh-Kha Nguyen" userId="73ea909082ace275" providerId="LiveId" clId="{B1554112-6404-403C-A743-7FE3323E2177}" dt="2020-04-05T09:01:23.621" v="11397" actId="478"/>
          <ac:spMkLst>
            <pc:docMk/>
            <pc:sldMk cId="3894678253" sldId="351"/>
            <ac:spMk id="44" creationId="{8D6AFDC1-5E54-4DD8-816D-B1EEB59DC065}"/>
          </ac:spMkLst>
        </pc:spChg>
        <pc:spChg chg="add del">
          <ac:chgData name="Minh-Kha Nguyen" userId="73ea909082ace275" providerId="LiveId" clId="{B1554112-6404-403C-A743-7FE3323E2177}" dt="2020-04-05T09:01:23.621" v="11397" actId="478"/>
          <ac:spMkLst>
            <pc:docMk/>
            <pc:sldMk cId="3894678253" sldId="351"/>
            <ac:spMk id="45" creationId="{273B656D-167E-4007-9993-EE1658532A88}"/>
          </ac:spMkLst>
        </pc:spChg>
        <pc:spChg chg="add del">
          <ac:chgData name="Minh-Kha Nguyen" userId="73ea909082ace275" providerId="LiveId" clId="{B1554112-6404-403C-A743-7FE3323E2177}" dt="2020-04-05T09:01:23.621" v="11397" actId="478"/>
          <ac:spMkLst>
            <pc:docMk/>
            <pc:sldMk cId="3894678253" sldId="351"/>
            <ac:spMk id="46" creationId="{BEE27698-E491-415A-B78C-849543667148}"/>
          </ac:spMkLst>
        </pc:spChg>
        <pc:spChg chg="add del">
          <ac:chgData name="Minh-Kha Nguyen" userId="73ea909082ace275" providerId="LiveId" clId="{B1554112-6404-403C-A743-7FE3323E2177}" dt="2020-04-05T09:01:23.621" v="11397" actId="478"/>
          <ac:spMkLst>
            <pc:docMk/>
            <pc:sldMk cId="3894678253" sldId="351"/>
            <ac:spMk id="47" creationId="{3E7B5D57-1B7E-46A7-A709-6F06F979B9A8}"/>
          </ac:spMkLst>
        </pc:spChg>
        <pc:spChg chg="add del">
          <ac:chgData name="Minh-Kha Nguyen" userId="73ea909082ace275" providerId="LiveId" clId="{B1554112-6404-403C-A743-7FE3323E2177}" dt="2020-04-05T09:01:23.621" v="11397" actId="478"/>
          <ac:spMkLst>
            <pc:docMk/>
            <pc:sldMk cId="3894678253" sldId="351"/>
            <ac:spMk id="48" creationId="{C2871A10-ECE2-4D7A-AE0F-BCE1712EDDAC}"/>
          </ac:spMkLst>
        </pc:spChg>
        <pc:spChg chg="add del">
          <ac:chgData name="Minh-Kha Nguyen" userId="73ea909082ace275" providerId="LiveId" clId="{B1554112-6404-403C-A743-7FE3323E2177}" dt="2020-04-05T09:01:23.621" v="11397" actId="478"/>
          <ac:spMkLst>
            <pc:docMk/>
            <pc:sldMk cId="3894678253" sldId="351"/>
            <ac:spMk id="49" creationId="{F53980C1-CEF2-48DC-9CE1-21A4920A8D4A}"/>
          </ac:spMkLst>
        </pc:spChg>
        <pc:spChg chg="del">
          <ac:chgData name="Minh-Kha Nguyen" userId="73ea909082ace275" providerId="LiveId" clId="{B1554112-6404-403C-A743-7FE3323E2177}" dt="2020-04-04T20:18:51.940" v="6930" actId="478"/>
          <ac:spMkLst>
            <pc:docMk/>
            <pc:sldMk cId="3894678253" sldId="351"/>
            <ac:spMk id="53" creationId="{DF757115-A928-49BE-8D6A-23E4CA4FE65C}"/>
          </ac:spMkLst>
        </pc:spChg>
        <pc:grpChg chg="add mod">
          <ac:chgData name="Minh-Kha Nguyen" userId="73ea909082ace275" providerId="LiveId" clId="{B1554112-6404-403C-A743-7FE3323E2177}" dt="2020-04-04T20:20:02.411" v="7026" actId="164"/>
          <ac:grpSpMkLst>
            <pc:docMk/>
            <pc:sldMk cId="3894678253" sldId="351"/>
            <ac:grpSpMk id="2" creationId="{A6630660-AC81-4B80-A90A-9A859F6B4579}"/>
          </ac:grpSpMkLst>
        </pc:grpChg>
        <pc:grpChg chg="del">
          <ac:chgData name="Minh-Kha Nguyen" userId="73ea909082ace275" providerId="LiveId" clId="{B1554112-6404-403C-A743-7FE3323E2177}" dt="2020-04-04T20:18:51.940" v="6930" actId="478"/>
          <ac:grpSpMkLst>
            <pc:docMk/>
            <pc:sldMk cId="3894678253" sldId="351"/>
            <ac:grpSpMk id="59" creationId="{459D8228-04A2-4A25-977B-C470D66E3DD9}"/>
          </ac:grpSpMkLst>
        </pc:grpChg>
        <pc:graphicFrameChg chg="mod ord">
          <ac:chgData name="Minh-Kha Nguyen" userId="73ea909082ace275" providerId="LiveId" clId="{B1554112-6404-403C-A743-7FE3323E2177}" dt="2020-04-04T20:19:26.562" v="6949"/>
          <ac:graphicFrameMkLst>
            <pc:docMk/>
            <pc:sldMk cId="3894678253" sldId="351"/>
            <ac:graphicFrameMk id="4" creationId="{0335BD31-9BEB-4951-908E-6DF29B0B511F}"/>
          </ac:graphicFrameMkLst>
        </pc:graphicFrameChg>
        <pc:picChg chg="mod ord">
          <ac:chgData name="Minh-Kha Nguyen" userId="73ea909082ace275" providerId="LiveId" clId="{B1554112-6404-403C-A743-7FE3323E2177}" dt="2020-04-04T20:22:01.755" v="7198" actId="1036"/>
          <ac:picMkLst>
            <pc:docMk/>
            <pc:sldMk cId="3894678253" sldId="351"/>
            <ac:picMk id="6" creationId="{182F4DCE-3821-4CD2-9A16-8FB1B79D4BB7}"/>
          </ac:picMkLst>
        </pc:picChg>
        <pc:picChg chg="del mod ord">
          <ac:chgData name="Minh-Kha Nguyen" userId="73ea909082ace275" providerId="LiveId" clId="{B1554112-6404-403C-A743-7FE3323E2177}" dt="2020-04-04T20:34:51.515" v="8054" actId="478"/>
          <ac:picMkLst>
            <pc:docMk/>
            <pc:sldMk cId="3894678253" sldId="351"/>
            <ac:picMk id="7" creationId="{FC6A73B6-536F-408E-810E-4BE805091326}"/>
          </ac:picMkLst>
        </pc:picChg>
        <pc:picChg chg="add del mod modCrop">
          <ac:chgData name="Minh-Kha Nguyen" userId="73ea909082ace275" providerId="LiveId" clId="{B1554112-6404-403C-A743-7FE3323E2177}" dt="2020-04-04T21:54:39.653" v="10703" actId="478"/>
          <ac:picMkLst>
            <pc:docMk/>
            <pc:sldMk cId="3894678253" sldId="351"/>
            <ac:picMk id="9" creationId="{E2DB397A-DBE2-43FA-BE7D-C4F8C8B2A0D6}"/>
          </ac:picMkLst>
        </pc:picChg>
        <pc:picChg chg="del">
          <ac:chgData name="Minh-Kha Nguyen" userId="73ea909082ace275" providerId="LiveId" clId="{B1554112-6404-403C-A743-7FE3323E2177}" dt="2020-04-04T20:18:53.915" v="6931" actId="478"/>
          <ac:picMkLst>
            <pc:docMk/>
            <pc:sldMk cId="3894678253" sldId="351"/>
            <ac:picMk id="10" creationId="{8BFE1F0C-74B2-4CE2-A35B-84C8ADA0A4F9}"/>
          </ac:picMkLst>
        </pc:picChg>
        <pc:picChg chg="del">
          <ac:chgData name="Minh-Kha Nguyen" userId="73ea909082ace275" providerId="LiveId" clId="{B1554112-6404-403C-A743-7FE3323E2177}" dt="2020-04-04T20:19:07.123" v="6932" actId="478"/>
          <ac:picMkLst>
            <pc:docMk/>
            <pc:sldMk cId="3894678253" sldId="351"/>
            <ac:picMk id="17" creationId="{2F606D26-F79F-4D99-B07C-3C3AAF0FA74A}"/>
          </ac:picMkLst>
        </pc:picChg>
        <pc:picChg chg="del">
          <ac:chgData name="Minh-Kha Nguyen" userId="73ea909082ace275" providerId="LiveId" clId="{B1554112-6404-403C-A743-7FE3323E2177}" dt="2020-04-04T20:18:51.940" v="6930" actId="478"/>
          <ac:picMkLst>
            <pc:docMk/>
            <pc:sldMk cId="3894678253" sldId="351"/>
            <ac:picMk id="18" creationId="{5124EB5F-3FAA-451C-A6A9-3984A075296B}"/>
          </ac:picMkLst>
        </pc:picChg>
        <pc:picChg chg="add mod">
          <ac:chgData name="Minh-Kha Nguyen" userId="73ea909082ace275" providerId="LiveId" clId="{B1554112-6404-403C-A743-7FE3323E2177}" dt="2020-04-04T20:22:14.315" v="7231" actId="1035"/>
          <ac:picMkLst>
            <pc:docMk/>
            <pc:sldMk cId="3894678253" sldId="351"/>
            <ac:picMk id="22" creationId="{480A263A-270E-43AF-B23A-9F6DA2230A4F}"/>
          </ac:picMkLst>
        </pc:picChg>
        <pc:picChg chg="add mod">
          <ac:chgData name="Minh-Kha Nguyen" userId="73ea909082ace275" providerId="LiveId" clId="{B1554112-6404-403C-A743-7FE3323E2177}" dt="2020-04-04T20:22:14.315" v="7231" actId="1035"/>
          <ac:picMkLst>
            <pc:docMk/>
            <pc:sldMk cId="3894678253" sldId="351"/>
            <ac:picMk id="23" creationId="{DA75398B-B068-4C34-B533-5F1A81D3405A}"/>
          </ac:picMkLst>
        </pc:picChg>
        <pc:picChg chg="add mod">
          <ac:chgData name="Minh-Kha Nguyen" userId="73ea909082ace275" providerId="LiveId" clId="{B1554112-6404-403C-A743-7FE3323E2177}" dt="2020-04-04T20:22:14.782" v="7232" actId="1035"/>
          <ac:picMkLst>
            <pc:docMk/>
            <pc:sldMk cId="3894678253" sldId="351"/>
            <ac:picMk id="24" creationId="{1A18C5D9-151F-4498-B618-59A2918CE727}"/>
          </ac:picMkLst>
        </pc:picChg>
        <pc:picChg chg="add mod">
          <ac:chgData name="Minh-Kha Nguyen" userId="73ea909082ace275" providerId="LiveId" clId="{B1554112-6404-403C-A743-7FE3323E2177}" dt="2020-04-04T20:22:14.782" v="7232" actId="1035"/>
          <ac:picMkLst>
            <pc:docMk/>
            <pc:sldMk cId="3894678253" sldId="351"/>
            <ac:picMk id="25" creationId="{F003F246-D63E-4813-857C-EF0CEE87B0E9}"/>
          </ac:picMkLst>
        </pc:picChg>
        <pc:picChg chg="add">
          <ac:chgData name="Minh-Kha Nguyen" userId="73ea909082ace275" providerId="LiveId" clId="{B1554112-6404-403C-A743-7FE3323E2177}" dt="2020-04-04T20:34:51.741" v="8055"/>
          <ac:picMkLst>
            <pc:docMk/>
            <pc:sldMk cId="3894678253" sldId="351"/>
            <ac:picMk id="26" creationId="{1842D3F7-3488-4DC7-B180-5B2E6BFCE756}"/>
          </ac:picMkLst>
        </pc:picChg>
        <pc:picChg chg="add del mod">
          <ac:chgData name="Minh-Kha Nguyen" userId="73ea909082ace275" providerId="LiveId" clId="{B1554112-6404-403C-A743-7FE3323E2177}" dt="2020-04-04T21:54:39.653" v="10703" actId="478"/>
          <ac:picMkLst>
            <pc:docMk/>
            <pc:sldMk cId="3894678253" sldId="351"/>
            <ac:picMk id="31" creationId="{3CAFD17C-A3A2-4923-99AB-F1425B15736B}"/>
          </ac:picMkLst>
        </pc:picChg>
        <pc:picChg chg="add del mod">
          <ac:chgData name="Minh-Kha Nguyen" userId="73ea909082ace275" providerId="LiveId" clId="{B1554112-6404-403C-A743-7FE3323E2177}" dt="2020-04-04T21:54:39.653" v="10703" actId="478"/>
          <ac:picMkLst>
            <pc:docMk/>
            <pc:sldMk cId="3894678253" sldId="351"/>
            <ac:picMk id="32" creationId="{9F898433-E373-4ED2-B976-F6753D97CDDC}"/>
          </ac:picMkLst>
        </pc:picChg>
        <pc:picChg chg="add del mod">
          <ac:chgData name="Minh-Kha Nguyen" userId="73ea909082ace275" providerId="LiveId" clId="{B1554112-6404-403C-A743-7FE3323E2177}" dt="2020-04-04T21:54:39.653" v="10703" actId="478"/>
          <ac:picMkLst>
            <pc:docMk/>
            <pc:sldMk cId="3894678253" sldId="351"/>
            <ac:picMk id="33" creationId="{D3D61A3D-E6DD-495E-A48A-AAA2292D7716}"/>
          </ac:picMkLst>
        </pc:picChg>
        <pc:picChg chg="add del">
          <ac:chgData name="Minh-Kha Nguyen" userId="73ea909082ace275" providerId="LiveId" clId="{B1554112-6404-403C-A743-7FE3323E2177}" dt="2020-04-05T09:01:23.621" v="11397" actId="478"/>
          <ac:picMkLst>
            <pc:docMk/>
            <pc:sldMk cId="3894678253" sldId="351"/>
            <ac:picMk id="38" creationId="{454E5F59-637E-4508-A956-A250DD11A5B7}"/>
          </ac:picMkLst>
        </pc:picChg>
        <pc:picChg chg="add del">
          <ac:chgData name="Minh-Kha Nguyen" userId="73ea909082ace275" providerId="LiveId" clId="{B1554112-6404-403C-A743-7FE3323E2177}" dt="2020-04-05T09:01:23.621" v="11397" actId="478"/>
          <ac:picMkLst>
            <pc:docMk/>
            <pc:sldMk cId="3894678253" sldId="351"/>
            <ac:picMk id="39" creationId="{B3DE9C22-8F12-41A1-A57D-75964B4DFEAC}"/>
          </ac:picMkLst>
        </pc:picChg>
        <pc:picChg chg="add del">
          <ac:chgData name="Minh-Kha Nguyen" userId="73ea909082ace275" providerId="LiveId" clId="{B1554112-6404-403C-A743-7FE3323E2177}" dt="2020-04-05T09:01:23.621" v="11397" actId="478"/>
          <ac:picMkLst>
            <pc:docMk/>
            <pc:sldMk cId="3894678253" sldId="351"/>
            <ac:picMk id="40" creationId="{DE6DA34F-3090-4CF0-A58D-7C6656BC4F60}"/>
          </ac:picMkLst>
        </pc:picChg>
        <pc:picChg chg="add del">
          <ac:chgData name="Minh-Kha Nguyen" userId="73ea909082ace275" providerId="LiveId" clId="{B1554112-6404-403C-A743-7FE3323E2177}" dt="2020-04-05T09:01:23.621" v="11397" actId="478"/>
          <ac:picMkLst>
            <pc:docMk/>
            <pc:sldMk cId="3894678253" sldId="351"/>
            <ac:picMk id="41" creationId="{8B94C753-829B-4CE0-BC0C-06445F56F355}"/>
          </ac:picMkLst>
        </pc:picChg>
        <pc:picChg chg="del">
          <ac:chgData name="Minh-Kha Nguyen" userId="73ea909082ace275" providerId="LiveId" clId="{B1554112-6404-403C-A743-7FE3323E2177}" dt="2020-04-04T20:18:51.940" v="6930" actId="478"/>
          <ac:picMkLst>
            <pc:docMk/>
            <pc:sldMk cId="3894678253" sldId="351"/>
            <ac:picMk id="54" creationId="{7EEC70DF-5C76-4CFC-90E1-2E6B632301AE}"/>
          </ac:picMkLst>
        </pc:picChg>
        <pc:picChg chg="del">
          <ac:chgData name="Minh-Kha Nguyen" userId="73ea909082ace275" providerId="LiveId" clId="{B1554112-6404-403C-A743-7FE3323E2177}" dt="2020-04-04T20:18:51.940" v="6930" actId="478"/>
          <ac:picMkLst>
            <pc:docMk/>
            <pc:sldMk cId="3894678253" sldId="351"/>
            <ac:picMk id="55" creationId="{AB118F61-2A5F-4601-B3AB-E741F63D540A}"/>
          </ac:picMkLst>
        </pc:picChg>
        <pc:picChg chg="del">
          <ac:chgData name="Minh-Kha Nguyen" userId="73ea909082ace275" providerId="LiveId" clId="{B1554112-6404-403C-A743-7FE3323E2177}" dt="2020-04-04T20:18:51.940" v="6930" actId="478"/>
          <ac:picMkLst>
            <pc:docMk/>
            <pc:sldMk cId="3894678253" sldId="351"/>
            <ac:picMk id="56" creationId="{8F973880-2FBA-470B-9955-0BF6ADFF2574}"/>
          </ac:picMkLst>
        </pc:picChg>
        <pc:picChg chg="del">
          <ac:chgData name="Minh-Kha Nguyen" userId="73ea909082ace275" providerId="LiveId" clId="{B1554112-6404-403C-A743-7FE3323E2177}" dt="2020-04-04T20:18:51.940" v="6930" actId="478"/>
          <ac:picMkLst>
            <pc:docMk/>
            <pc:sldMk cId="3894678253" sldId="351"/>
            <ac:picMk id="57" creationId="{920D0F61-3E97-4277-AFED-BAD6FF75D0F1}"/>
          </ac:picMkLst>
        </pc:picChg>
        <pc:cxnChg chg="add">
          <ac:chgData name="Minh-Kha Nguyen" userId="73ea909082ace275" providerId="LiveId" clId="{B1554112-6404-403C-A743-7FE3323E2177}" dt="2020-04-04T20:34:51.741" v="8055"/>
          <ac:cxnSpMkLst>
            <pc:docMk/>
            <pc:sldMk cId="3894678253" sldId="351"/>
            <ac:cxnSpMk id="28" creationId="{1D83B2D8-828B-413E-B057-59DC8DD58124}"/>
          </ac:cxnSpMkLst>
        </pc:cxnChg>
      </pc:sldChg>
      <pc:sldChg chg="addSp delSp modSp add mod setBg delAnim modAnim">
        <pc:chgData name="Minh-Kha Nguyen" userId="73ea909082ace275" providerId="LiveId" clId="{B1554112-6404-403C-A743-7FE3323E2177}" dt="2020-04-05T11:16:14.912" v="13089"/>
        <pc:sldMkLst>
          <pc:docMk/>
          <pc:sldMk cId="1988247437" sldId="352"/>
        </pc:sldMkLst>
        <pc:spChg chg="del mod ord">
          <ac:chgData name="Minh-Kha Nguyen" userId="73ea909082ace275" providerId="LiveId" clId="{B1554112-6404-403C-A743-7FE3323E2177}" dt="2020-04-05T11:16:08.528" v="13086" actId="478"/>
          <ac:spMkLst>
            <pc:docMk/>
            <pc:sldMk cId="1988247437" sldId="352"/>
            <ac:spMk id="3" creationId="{2CD8122E-8A66-4F65-9740-7DC1B59991AD}"/>
          </ac:spMkLst>
        </pc:spChg>
        <pc:spChg chg="del">
          <ac:chgData name="Minh-Kha Nguyen" userId="73ea909082ace275" providerId="LiveId" clId="{B1554112-6404-403C-A743-7FE3323E2177}" dt="2020-04-04T20:34:55.615" v="8056" actId="478"/>
          <ac:spMkLst>
            <pc:docMk/>
            <pc:sldMk cId="1988247437" sldId="352"/>
            <ac:spMk id="8" creationId="{CCE6CBF3-DE61-4DDF-94B4-4B6B7D9577E7}"/>
          </ac:spMkLst>
        </pc:spChg>
        <pc:spChg chg="add mod">
          <ac:chgData name="Minh-Kha Nguyen" userId="73ea909082ace275" providerId="LiveId" clId="{B1554112-6404-403C-A743-7FE3323E2177}" dt="2020-04-05T09:07:16.417" v="11496" actId="164"/>
          <ac:spMkLst>
            <pc:docMk/>
            <pc:sldMk cId="1988247437" sldId="352"/>
            <ac:spMk id="11" creationId="{629DA0CC-B47E-4073-AE71-7A166DEACFAC}"/>
          </ac:spMkLst>
        </pc:spChg>
        <pc:spChg chg="add mod">
          <ac:chgData name="Minh-Kha Nguyen" userId="73ea909082ace275" providerId="LiveId" clId="{B1554112-6404-403C-A743-7FE3323E2177}" dt="2020-04-05T09:08:07.472" v="11501" actId="164"/>
          <ac:spMkLst>
            <pc:docMk/>
            <pc:sldMk cId="1988247437" sldId="352"/>
            <ac:spMk id="13" creationId="{BEDB219A-695E-4DC8-9795-E2D9DC623ECE}"/>
          </ac:spMkLst>
        </pc:spChg>
        <pc:spChg chg="add mod ord">
          <ac:chgData name="Minh-Kha Nguyen" userId="73ea909082ace275" providerId="LiveId" clId="{B1554112-6404-403C-A743-7FE3323E2177}" dt="2020-04-05T09:19:58.063" v="12195"/>
          <ac:spMkLst>
            <pc:docMk/>
            <pc:sldMk cId="1988247437" sldId="352"/>
            <ac:spMk id="14" creationId="{F73DD14F-A191-4D98-9F7D-065180983E0C}"/>
          </ac:spMkLst>
        </pc:spChg>
        <pc:spChg chg="add mod ord">
          <ac:chgData name="Minh-Kha Nguyen" userId="73ea909082ace275" providerId="LiveId" clId="{B1554112-6404-403C-A743-7FE3323E2177}" dt="2020-04-05T09:19:58.064" v="12197"/>
          <ac:spMkLst>
            <pc:docMk/>
            <pc:sldMk cId="1988247437" sldId="352"/>
            <ac:spMk id="15" creationId="{AD9DA0E4-BB72-42C4-A73E-2811B9578447}"/>
          </ac:spMkLst>
        </pc:spChg>
        <pc:spChg chg="add mod ord">
          <ac:chgData name="Minh-Kha Nguyen" userId="73ea909082ace275" providerId="LiveId" clId="{B1554112-6404-403C-A743-7FE3323E2177}" dt="2020-04-05T09:19:58.065" v="12199"/>
          <ac:spMkLst>
            <pc:docMk/>
            <pc:sldMk cId="1988247437" sldId="352"/>
            <ac:spMk id="16" creationId="{55B72FA5-8AB3-40EF-A69C-CE815C2A57BC}"/>
          </ac:spMkLst>
        </pc:spChg>
        <pc:spChg chg="add mod ord">
          <ac:chgData name="Minh-Kha Nguyen" userId="73ea909082ace275" providerId="LiveId" clId="{B1554112-6404-403C-A743-7FE3323E2177}" dt="2020-04-05T09:19:58.065" v="12201"/>
          <ac:spMkLst>
            <pc:docMk/>
            <pc:sldMk cId="1988247437" sldId="352"/>
            <ac:spMk id="17" creationId="{FAA26406-40C6-4EA2-B338-57AF6A0A4C10}"/>
          </ac:spMkLst>
        </pc:spChg>
        <pc:spChg chg="add mod ord">
          <ac:chgData name="Minh-Kha Nguyen" userId="73ea909082ace275" providerId="LiveId" clId="{B1554112-6404-403C-A743-7FE3323E2177}" dt="2020-04-05T09:19:58.066" v="12203"/>
          <ac:spMkLst>
            <pc:docMk/>
            <pc:sldMk cId="1988247437" sldId="352"/>
            <ac:spMk id="18" creationId="{5BC4AEDF-4BF6-40D1-9701-DF7D969962AA}"/>
          </ac:spMkLst>
        </pc:spChg>
        <pc:spChg chg="add mod ord topLvl">
          <ac:chgData name="Minh-Kha Nguyen" userId="73ea909082ace275" providerId="LiveId" clId="{B1554112-6404-403C-A743-7FE3323E2177}" dt="2020-04-05T09:19:58.067" v="12207"/>
          <ac:spMkLst>
            <pc:docMk/>
            <pc:sldMk cId="1988247437" sldId="352"/>
            <ac:spMk id="20" creationId="{A5CEA2CE-1E2F-4A47-A47C-C71AAB8777B9}"/>
          </ac:spMkLst>
        </pc:spChg>
        <pc:spChg chg="add mod ord">
          <ac:chgData name="Minh-Kha Nguyen" userId="73ea909082ace275" providerId="LiveId" clId="{B1554112-6404-403C-A743-7FE3323E2177}" dt="2020-04-05T09:19:58.068" v="12211"/>
          <ac:spMkLst>
            <pc:docMk/>
            <pc:sldMk cId="1988247437" sldId="352"/>
            <ac:spMk id="30" creationId="{237E034D-263A-4825-847B-4C180538AECB}"/>
          </ac:spMkLst>
        </pc:spChg>
        <pc:spChg chg="add mod ord">
          <ac:chgData name="Minh-Kha Nguyen" userId="73ea909082ace275" providerId="LiveId" clId="{B1554112-6404-403C-A743-7FE3323E2177}" dt="2020-04-05T09:19:58.069" v="12213"/>
          <ac:spMkLst>
            <pc:docMk/>
            <pc:sldMk cId="1988247437" sldId="352"/>
            <ac:spMk id="31" creationId="{8817E9AE-1D63-45EF-8D1D-FCF966CF0699}"/>
          </ac:spMkLst>
        </pc:spChg>
        <pc:spChg chg="add mod ord">
          <ac:chgData name="Minh-Kha Nguyen" userId="73ea909082ace275" providerId="LiveId" clId="{B1554112-6404-403C-A743-7FE3323E2177}" dt="2020-04-05T09:19:58.070" v="12215"/>
          <ac:spMkLst>
            <pc:docMk/>
            <pc:sldMk cId="1988247437" sldId="352"/>
            <ac:spMk id="32" creationId="{6CB27849-3E70-4A31-9094-E16575CE1D7E}"/>
          </ac:spMkLst>
        </pc:spChg>
        <pc:spChg chg="add mod ord">
          <ac:chgData name="Minh-Kha Nguyen" userId="73ea909082ace275" providerId="LiveId" clId="{B1554112-6404-403C-A743-7FE3323E2177}" dt="2020-04-05T09:19:58.071" v="12217"/>
          <ac:spMkLst>
            <pc:docMk/>
            <pc:sldMk cId="1988247437" sldId="352"/>
            <ac:spMk id="33" creationId="{721FBC37-F9C3-4406-81B4-03FD7AA9A483}"/>
          </ac:spMkLst>
        </pc:spChg>
        <pc:spChg chg="add mod ord">
          <ac:chgData name="Minh-Kha Nguyen" userId="73ea909082ace275" providerId="LiveId" clId="{B1554112-6404-403C-A743-7FE3323E2177}" dt="2020-04-05T09:19:58.071" v="12219"/>
          <ac:spMkLst>
            <pc:docMk/>
            <pc:sldMk cId="1988247437" sldId="352"/>
            <ac:spMk id="34" creationId="{3787D48C-C62B-410C-8769-0C1097ED0719}"/>
          </ac:spMkLst>
        </pc:spChg>
        <pc:spChg chg="add mod ord">
          <ac:chgData name="Minh-Kha Nguyen" userId="73ea909082ace275" providerId="LiveId" clId="{B1554112-6404-403C-A743-7FE3323E2177}" dt="2020-04-05T09:19:58.072" v="12221"/>
          <ac:spMkLst>
            <pc:docMk/>
            <pc:sldMk cId="1988247437" sldId="352"/>
            <ac:spMk id="35" creationId="{5CD866FE-8334-4AC4-8EE9-17B9723B3306}"/>
          </ac:spMkLst>
        </pc:spChg>
        <pc:spChg chg="add mod ord">
          <ac:chgData name="Minh-Kha Nguyen" userId="73ea909082ace275" providerId="LiveId" clId="{B1554112-6404-403C-A743-7FE3323E2177}" dt="2020-04-05T09:19:58.073" v="12223"/>
          <ac:spMkLst>
            <pc:docMk/>
            <pc:sldMk cId="1988247437" sldId="352"/>
            <ac:spMk id="36" creationId="{1BD8B140-F215-40CD-BC89-2CBD5954C6C9}"/>
          </ac:spMkLst>
        </pc:spChg>
        <pc:spChg chg="add mod ord">
          <ac:chgData name="Minh-Kha Nguyen" userId="73ea909082ace275" providerId="LiveId" clId="{B1554112-6404-403C-A743-7FE3323E2177}" dt="2020-04-05T09:19:58.073" v="12225"/>
          <ac:spMkLst>
            <pc:docMk/>
            <pc:sldMk cId="1988247437" sldId="352"/>
            <ac:spMk id="37" creationId="{C863250F-270C-43C3-9491-4D15E1EFA1EB}"/>
          </ac:spMkLst>
        </pc:spChg>
        <pc:spChg chg="add mod ord">
          <ac:chgData name="Minh-Kha Nguyen" userId="73ea909082ace275" providerId="LiveId" clId="{B1554112-6404-403C-A743-7FE3323E2177}" dt="2020-04-05T09:19:58.074" v="12227"/>
          <ac:spMkLst>
            <pc:docMk/>
            <pc:sldMk cId="1988247437" sldId="352"/>
            <ac:spMk id="38" creationId="{1B7A6DA6-588C-4E24-B8F4-B7FA4915A3AB}"/>
          </ac:spMkLst>
        </pc:spChg>
        <pc:spChg chg="add mod ord">
          <ac:chgData name="Minh-Kha Nguyen" userId="73ea909082ace275" providerId="LiveId" clId="{B1554112-6404-403C-A743-7FE3323E2177}" dt="2020-04-05T09:19:58.075" v="12229"/>
          <ac:spMkLst>
            <pc:docMk/>
            <pc:sldMk cId="1988247437" sldId="352"/>
            <ac:spMk id="39" creationId="{CAE87AAB-88C2-4354-B289-A0F083E5ED03}"/>
          </ac:spMkLst>
        </pc:spChg>
        <pc:grpChg chg="add del mod">
          <ac:chgData name="Minh-Kha Nguyen" userId="73ea909082ace275" providerId="LiveId" clId="{B1554112-6404-403C-A743-7FE3323E2177}" dt="2020-04-05T08:59:53.102" v="11396" actId="165"/>
          <ac:grpSpMkLst>
            <pc:docMk/>
            <pc:sldMk cId="1988247437" sldId="352"/>
            <ac:grpSpMk id="2" creationId="{66451690-97F2-4A46-9E3D-355CAAB5C00F}"/>
          </ac:grpSpMkLst>
        </pc:grpChg>
        <pc:grpChg chg="add mod ord">
          <ac:chgData name="Minh-Kha Nguyen" userId="73ea909082ace275" providerId="LiveId" clId="{B1554112-6404-403C-A743-7FE3323E2177}" dt="2020-04-05T09:19:58.075" v="12231"/>
          <ac:grpSpMkLst>
            <pc:docMk/>
            <pc:sldMk cId="1988247437" sldId="352"/>
            <ac:grpSpMk id="12" creationId="{B084A306-4D1E-4FA2-805E-BD06AAA6715D}"/>
          </ac:grpSpMkLst>
        </pc:grpChg>
        <pc:grpChg chg="add mod">
          <ac:chgData name="Minh-Kha Nguyen" userId="73ea909082ace275" providerId="LiveId" clId="{B1554112-6404-403C-A743-7FE3323E2177}" dt="2020-04-05T09:07:16.417" v="11496" actId="164"/>
          <ac:grpSpMkLst>
            <pc:docMk/>
            <pc:sldMk cId="1988247437" sldId="352"/>
            <ac:grpSpMk id="40" creationId="{622DB858-7A1A-4962-AE9D-7BCAB9DB08C7}"/>
          </ac:grpSpMkLst>
        </pc:grpChg>
        <pc:grpChg chg="add mod ord">
          <ac:chgData name="Minh-Kha Nguyen" userId="73ea909082ace275" providerId="LiveId" clId="{B1554112-6404-403C-A743-7FE3323E2177}" dt="2020-04-05T09:19:58.062" v="12193"/>
          <ac:grpSpMkLst>
            <pc:docMk/>
            <pc:sldMk cId="1988247437" sldId="352"/>
            <ac:grpSpMk id="45" creationId="{7BE358BE-09CB-40FF-9F0D-760198DA8C91}"/>
          </ac:grpSpMkLst>
        </pc:grpChg>
        <pc:graphicFrameChg chg="mod ord">
          <ac:chgData name="Minh-Kha Nguyen" userId="73ea909082ace275" providerId="LiveId" clId="{B1554112-6404-403C-A743-7FE3323E2177}" dt="2020-04-05T09:19:58.082" v="12247"/>
          <ac:graphicFrameMkLst>
            <pc:docMk/>
            <pc:sldMk cId="1988247437" sldId="352"/>
            <ac:graphicFrameMk id="4" creationId="{0335BD31-9BEB-4951-908E-6DF29B0B511F}"/>
          </ac:graphicFrameMkLst>
        </pc:graphicFrameChg>
        <pc:picChg chg="mod ord">
          <ac:chgData name="Minh-Kha Nguyen" userId="73ea909082ace275" providerId="LiveId" clId="{B1554112-6404-403C-A743-7FE3323E2177}" dt="2020-04-05T09:19:58.059" v="12183"/>
          <ac:picMkLst>
            <pc:docMk/>
            <pc:sldMk cId="1988247437" sldId="352"/>
            <ac:picMk id="6" creationId="{182F4DCE-3821-4CD2-9A16-8FB1B79D4BB7}"/>
          </ac:picMkLst>
        </pc:picChg>
        <pc:picChg chg="del">
          <ac:chgData name="Minh-Kha Nguyen" userId="73ea909082ace275" providerId="LiveId" clId="{B1554112-6404-403C-A743-7FE3323E2177}" dt="2020-04-04T20:34:55.615" v="8056" actId="478"/>
          <ac:picMkLst>
            <pc:docMk/>
            <pc:sldMk cId="1988247437" sldId="352"/>
            <ac:picMk id="7" creationId="{FC6A73B6-536F-408E-810E-4BE805091326}"/>
          </ac:picMkLst>
        </pc:picChg>
        <pc:picChg chg="add mod ord modCrop">
          <ac:chgData name="Minh-Kha Nguyen" userId="73ea909082ace275" providerId="LiveId" clId="{B1554112-6404-403C-A743-7FE3323E2177}" dt="2020-04-05T09:21:18.011" v="12269" actId="732"/>
          <ac:picMkLst>
            <pc:docMk/>
            <pc:sldMk cId="1988247437" sldId="352"/>
            <ac:picMk id="8" creationId="{5B511536-9F0E-429C-83BC-70CEFEA6EE96}"/>
          </ac:picMkLst>
        </pc:picChg>
        <pc:picChg chg="add del mod">
          <ac:chgData name="Minh-Kha Nguyen" userId="73ea909082ace275" providerId="LiveId" clId="{B1554112-6404-403C-A743-7FE3323E2177}" dt="2020-04-04T20:52:51.831" v="8952" actId="478"/>
          <ac:picMkLst>
            <pc:docMk/>
            <pc:sldMk cId="1988247437" sldId="352"/>
            <ac:picMk id="10" creationId="{AED0079E-A124-482F-9FD1-CA78CF7F2396}"/>
          </ac:picMkLst>
        </pc:picChg>
        <pc:picChg chg="add del mod modCrop">
          <ac:chgData name="Minh-Kha Nguyen" userId="73ea909082ace275" providerId="LiveId" clId="{B1554112-6404-403C-A743-7FE3323E2177}" dt="2020-04-05T09:05:44.208" v="11457" actId="478"/>
          <ac:picMkLst>
            <pc:docMk/>
            <pc:sldMk cId="1988247437" sldId="352"/>
            <ac:picMk id="10" creationId="{B93D084D-28FE-446D-8048-9151BCD273CB}"/>
          </ac:picMkLst>
        </pc:picChg>
        <pc:picChg chg="add mod ord topLvl">
          <ac:chgData name="Minh-Kha Nguyen" userId="73ea909082ace275" providerId="LiveId" clId="{B1554112-6404-403C-A743-7FE3323E2177}" dt="2020-04-05T09:19:58.067" v="12205"/>
          <ac:picMkLst>
            <pc:docMk/>
            <pc:sldMk cId="1988247437" sldId="352"/>
            <ac:picMk id="19" creationId="{06633C77-13C1-4E21-A487-6484E5E5AA4A}"/>
          </ac:picMkLst>
        </pc:picChg>
        <pc:picChg chg="mod ord">
          <ac:chgData name="Minh-Kha Nguyen" userId="73ea909082ace275" providerId="LiveId" clId="{B1554112-6404-403C-A743-7FE3323E2177}" dt="2020-04-05T09:19:58.060" v="12185"/>
          <ac:picMkLst>
            <pc:docMk/>
            <pc:sldMk cId="1988247437" sldId="352"/>
            <ac:picMk id="22" creationId="{480A263A-270E-43AF-B23A-9F6DA2230A4F}"/>
          </ac:picMkLst>
        </pc:picChg>
        <pc:picChg chg="mod ord">
          <ac:chgData name="Minh-Kha Nguyen" userId="73ea909082ace275" providerId="LiveId" clId="{B1554112-6404-403C-A743-7FE3323E2177}" dt="2020-04-05T09:19:58.060" v="12187"/>
          <ac:picMkLst>
            <pc:docMk/>
            <pc:sldMk cId="1988247437" sldId="352"/>
            <ac:picMk id="23" creationId="{DA75398B-B068-4C34-B533-5F1A81D3405A}"/>
          </ac:picMkLst>
        </pc:picChg>
        <pc:picChg chg="mod ord">
          <ac:chgData name="Minh-Kha Nguyen" userId="73ea909082ace275" providerId="LiveId" clId="{B1554112-6404-403C-A743-7FE3323E2177}" dt="2020-04-05T09:19:58.061" v="12189"/>
          <ac:picMkLst>
            <pc:docMk/>
            <pc:sldMk cId="1988247437" sldId="352"/>
            <ac:picMk id="24" creationId="{1A18C5D9-151F-4498-B618-59A2918CE727}"/>
          </ac:picMkLst>
        </pc:picChg>
        <pc:picChg chg="mod ord">
          <ac:chgData name="Minh-Kha Nguyen" userId="73ea909082ace275" providerId="LiveId" clId="{B1554112-6404-403C-A743-7FE3323E2177}" dt="2020-04-05T09:19:58.062" v="12191"/>
          <ac:picMkLst>
            <pc:docMk/>
            <pc:sldMk cId="1988247437" sldId="352"/>
            <ac:picMk id="25" creationId="{F003F246-D63E-4813-857C-EF0CEE87B0E9}"/>
          </ac:picMkLst>
        </pc:picChg>
        <pc:picChg chg="add del mod modCrop">
          <ac:chgData name="Minh-Kha Nguyen" userId="73ea909082ace275" providerId="LiveId" clId="{B1554112-6404-403C-A743-7FE3323E2177}" dt="2020-04-05T09:14:57.453" v="11641" actId="478"/>
          <ac:picMkLst>
            <pc:docMk/>
            <pc:sldMk cId="1988247437" sldId="352"/>
            <ac:picMk id="26" creationId="{24F12A3E-3EB8-4EBD-B365-33E2C569D54D}"/>
          </ac:picMkLst>
        </pc:picChg>
        <pc:picChg chg="add del">
          <ac:chgData name="Minh-Kha Nguyen" userId="73ea909082ace275" providerId="LiveId" clId="{B1554112-6404-403C-A743-7FE3323E2177}" dt="2020-04-05T08:55:11.108" v="11193" actId="478"/>
          <ac:picMkLst>
            <pc:docMk/>
            <pc:sldMk cId="1988247437" sldId="352"/>
            <ac:picMk id="27" creationId="{C04E7EE4-E259-4053-8F43-008ECB2D9F16}"/>
          </ac:picMkLst>
        </pc:picChg>
        <pc:picChg chg="add del">
          <ac:chgData name="Minh-Kha Nguyen" userId="73ea909082ace275" providerId="LiveId" clId="{B1554112-6404-403C-A743-7FE3323E2177}" dt="2020-04-05T08:55:11.108" v="11193" actId="478"/>
          <ac:picMkLst>
            <pc:docMk/>
            <pc:sldMk cId="1988247437" sldId="352"/>
            <ac:picMk id="28" creationId="{6F3CBD03-2B9A-41F7-A4B9-A8406A0FF7A0}"/>
          </ac:picMkLst>
        </pc:picChg>
        <pc:picChg chg="add del">
          <ac:chgData name="Minh-Kha Nguyen" userId="73ea909082ace275" providerId="LiveId" clId="{B1554112-6404-403C-A743-7FE3323E2177}" dt="2020-04-05T08:55:11.108" v="11193" actId="478"/>
          <ac:picMkLst>
            <pc:docMk/>
            <pc:sldMk cId="1988247437" sldId="352"/>
            <ac:picMk id="29" creationId="{67280020-59AB-4DF8-B8FA-43E28449E9FC}"/>
          </ac:picMkLst>
        </pc:picChg>
        <pc:picChg chg="add del mod ord">
          <ac:chgData name="Minh-Kha Nguyen" userId="73ea909082ace275" providerId="LiveId" clId="{B1554112-6404-403C-A743-7FE3323E2177}" dt="2020-04-05T09:19:32.812" v="12103" actId="478"/>
          <ac:picMkLst>
            <pc:docMk/>
            <pc:sldMk cId="1988247437" sldId="352"/>
            <ac:picMk id="43" creationId="{DA2BFA38-FC07-4D33-859D-4B7A21A1BB21}"/>
          </ac:picMkLst>
        </pc:picChg>
        <pc:picChg chg="add del mod">
          <ac:chgData name="Minh-Kha Nguyen" userId="73ea909082ace275" providerId="LiveId" clId="{B1554112-6404-403C-A743-7FE3323E2177}" dt="2020-04-05T09:13:23.906" v="11628" actId="478"/>
          <ac:picMkLst>
            <pc:docMk/>
            <pc:sldMk cId="1988247437" sldId="352"/>
            <ac:picMk id="44" creationId="{1B3A042B-25B9-43CE-B658-8992EC549D8B}"/>
          </ac:picMkLst>
        </pc:picChg>
        <pc:picChg chg="add del mod ord modCrop">
          <ac:chgData name="Minh-Kha Nguyen" userId="73ea909082ace275" providerId="LiveId" clId="{B1554112-6404-403C-A743-7FE3323E2177}" dt="2020-04-05T09:24:01.523" v="12288" actId="478"/>
          <ac:picMkLst>
            <pc:docMk/>
            <pc:sldMk cId="1988247437" sldId="352"/>
            <ac:picMk id="46" creationId="{EE256847-D227-4692-ABB7-9BEE462F09B2}"/>
          </ac:picMkLst>
        </pc:picChg>
        <pc:picChg chg="add mod ord modCrop">
          <ac:chgData name="Minh-Kha Nguyen" userId="73ea909082ace275" providerId="LiveId" clId="{B1554112-6404-403C-A743-7FE3323E2177}" dt="2020-04-05T09:24:52.065" v="12303" actId="1076"/>
          <ac:picMkLst>
            <pc:docMk/>
            <pc:sldMk cId="1988247437" sldId="352"/>
            <ac:picMk id="47" creationId="{FDED107D-50BF-4528-9F3A-D4E06AA0CF88}"/>
          </ac:picMkLst>
        </pc:picChg>
        <pc:picChg chg="add mod ord modCrop">
          <ac:chgData name="Minh-Kha Nguyen" userId="73ea909082ace275" providerId="LiveId" clId="{B1554112-6404-403C-A743-7FE3323E2177}" dt="2020-04-05T09:19:58.076" v="12233"/>
          <ac:picMkLst>
            <pc:docMk/>
            <pc:sldMk cId="1988247437" sldId="352"/>
            <ac:picMk id="48" creationId="{47BFE55A-2F12-486D-B276-EA1E443DAA38}"/>
          </ac:picMkLst>
        </pc:picChg>
        <pc:picChg chg="add mod ord">
          <ac:chgData name="Minh-Kha Nguyen" userId="73ea909082ace275" providerId="LiveId" clId="{B1554112-6404-403C-A743-7FE3323E2177}" dt="2020-04-05T09:19:58.077" v="12235"/>
          <ac:picMkLst>
            <pc:docMk/>
            <pc:sldMk cId="1988247437" sldId="352"/>
            <ac:picMk id="49" creationId="{34575554-FC64-468A-B44B-1E1E138602EB}"/>
          </ac:picMkLst>
        </pc:picChg>
        <pc:picChg chg="add mod">
          <ac:chgData name="Minh-Kha Nguyen" userId="73ea909082ace275" providerId="LiveId" clId="{B1554112-6404-403C-A743-7FE3323E2177}" dt="2020-04-05T09:17:36.446" v="11920"/>
          <ac:picMkLst>
            <pc:docMk/>
            <pc:sldMk cId="1988247437" sldId="352"/>
            <ac:picMk id="50" creationId="{D14CD5D6-6B9D-4188-9FE1-A181F73F8B76}"/>
          </ac:picMkLst>
        </pc:picChg>
        <pc:picChg chg="add mod ord modCrop">
          <ac:chgData name="Minh-Kha Nguyen" userId="73ea909082ace275" providerId="LiveId" clId="{B1554112-6404-403C-A743-7FE3323E2177}" dt="2020-04-05T09:19:58.078" v="12237"/>
          <ac:picMkLst>
            <pc:docMk/>
            <pc:sldMk cId="1988247437" sldId="352"/>
            <ac:picMk id="51" creationId="{764628C9-5493-4484-94F4-2FCDC4418BCF}"/>
          </ac:picMkLst>
        </pc:picChg>
        <pc:picChg chg="add mod ord modCrop">
          <ac:chgData name="Minh-Kha Nguyen" userId="73ea909082ace275" providerId="LiveId" clId="{B1554112-6404-403C-A743-7FE3323E2177}" dt="2020-04-05T09:19:58.078" v="12239"/>
          <ac:picMkLst>
            <pc:docMk/>
            <pc:sldMk cId="1988247437" sldId="352"/>
            <ac:picMk id="52" creationId="{1D146B4A-DF1B-4415-9D3E-68E53ADDEB3E}"/>
          </ac:picMkLst>
        </pc:picChg>
        <pc:picChg chg="add mod modCrop">
          <ac:chgData name="Minh-Kha Nguyen" userId="73ea909082ace275" providerId="LiveId" clId="{B1554112-6404-403C-A743-7FE3323E2177}" dt="2020-04-05T09:24:41.427" v="12301" actId="732"/>
          <ac:picMkLst>
            <pc:docMk/>
            <pc:sldMk cId="1988247437" sldId="352"/>
            <ac:picMk id="54" creationId="{76772C7C-252A-400C-91C8-239509153262}"/>
          </ac:picMkLst>
        </pc:picChg>
        <pc:picChg chg="add mod modCrop">
          <ac:chgData name="Minh-Kha Nguyen" userId="73ea909082ace275" providerId="LiveId" clId="{B1554112-6404-403C-A743-7FE3323E2177}" dt="2020-04-05T09:38:31.067" v="12726" actId="732"/>
          <ac:picMkLst>
            <pc:docMk/>
            <pc:sldMk cId="1988247437" sldId="352"/>
            <ac:picMk id="55" creationId="{FBBF6FE8-32F7-4295-8E66-840F42CB9112}"/>
          </ac:picMkLst>
        </pc:picChg>
        <pc:cxnChg chg="add mod">
          <ac:chgData name="Minh-Kha Nguyen" userId="73ea909082ace275" providerId="LiveId" clId="{B1554112-6404-403C-A743-7FE3323E2177}" dt="2020-04-05T09:08:07.472" v="11501" actId="164"/>
          <ac:cxnSpMkLst>
            <pc:docMk/>
            <pc:sldMk cId="1988247437" sldId="352"/>
            <ac:cxnSpMk id="5" creationId="{6E2FCDCB-5D26-4B72-B533-BD908B00B56D}"/>
          </ac:cxnSpMkLst>
        </pc:cxnChg>
        <pc:cxnChg chg="add mod ord">
          <ac:chgData name="Minh-Kha Nguyen" userId="73ea909082ace275" providerId="LiveId" clId="{B1554112-6404-403C-A743-7FE3323E2177}" dt="2020-04-05T09:19:58.068" v="12209"/>
          <ac:cxnSpMkLst>
            <pc:docMk/>
            <pc:sldMk cId="1988247437" sldId="352"/>
            <ac:cxnSpMk id="21" creationId="{DC4C66CB-CFBA-4846-BE8E-47B5C57B7550}"/>
          </ac:cxnSpMkLst>
        </pc:cxnChg>
      </pc:sldChg>
      <pc:sldChg chg="delSp add del mod delAnim">
        <pc:chgData name="Minh-Kha Nguyen" userId="73ea909082ace275" providerId="LiveId" clId="{B1554112-6404-403C-A743-7FE3323E2177}" dt="2020-04-04T20:55:40.242" v="8953" actId="47"/>
        <pc:sldMkLst>
          <pc:docMk/>
          <pc:sldMk cId="1517492490" sldId="353"/>
        </pc:sldMkLst>
        <pc:spChg chg="del">
          <ac:chgData name="Minh-Kha Nguyen" userId="73ea909082ace275" providerId="LiveId" clId="{B1554112-6404-403C-A743-7FE3323E2177}" dt="2020-04-04T20:28:55.777" v="7928" actId="478"/>
          <ac:spMkLst>
            <pc:docMk/>
            <pc:sldMk cId="1517492490" sldId="353"/>
            <ac:spMk id="13" creationId="{BEDB219A-695E-4DC8-9795-E2D9DC623ECE}"/>
          </ac:spMkLst>
        </pc:spChg>
        <pc:spChg chg="del">
          <ac:chgData name="Minh-Kha Nguyen" userId="73ea909082ace275" providerId="LiveId" clId="{B1554112-6404-403C-A743-7FE3323E2177}" dt="2020-04-04T20:28:55.777" v="7928" actId="478"/>
          <ac:spMkLst>
            <pc:docMk/>
            <pc:sldMk cId="1517492490" sldId="353"/>
            <ac:spMk id="14" creationId="{F73DD14F-A191-4D98-9F7D-065180983E0C}"/>
          </ac:spMkLst>
        </pc:spChg>
        <pc:spChg chg="del">
          <ac:chgData name="Minh-Kha Nguyen" userId="73ea909082ace275" providerId="LiveId" clId="{B1554112-6404-403C-A743-7FE3323E2177}" dt="2020-04-04T20:28:55.777" v="7928" actId="478"/>
          <ac:spMkLst>
            <pc:docMk/>
            <pc:sldMk cId="1517492490" sldId="353"/>
            <ac:spMk id="15" creationId="{AD9DA0E4-BB72-42C4-A73E-2811B9578447}"/>
          </ac:spMkLst>
        </pc:spChg>
        <pc:spChg chg="del">
          <ac:chgData name="Minh-Kha Nguyen" userId="73ea909082ace275" providerId="LiveId" clId="{B1554112-6404-403C-A743-7FE3323E2177}" dt="2020-04-04T20:28:55.777" v="7928" actId="478"/>
          <ac:spMkLst>
            <pc:docMk/>
            <pc:sldMk cId="1517492490" sldId="353"/>
            <ac:spMk id="16" creationId="{55B72FA5-8AB3-40EF-A69C-CE815C2A57BC}"/>
          </ac:spMkLst>
        </pc:spChg>
        <pc:spChg chg="del">
          <ac:chgData name="Minh-Kha Nguyen" userId="73ea909082ace275" providerId="LiveId" clId="{B1554112-6404-403C-A743-7FE3323E2177}" dt="2020-04-04T20:28:55.777" v="7928" actId="478"/>
          <ac:spMkLst>
            <pc:docMk/>
            <pc:sldMk cId="1517492490" sldId="353"/>
            <ac:spMk id="17" creationId="{FAA26406-40C6-4EA2-B338-57AF6A0A4C10}"/>
          </ac:spMkLst>
        </pc:spChg>
        <pc:spChg chg="del">
          <ac:chgData name="Minh-Kha Nguyen" userId="73ea909082ace275" providerId="LiveId" clId="{B1554112-6404-403C-A743-7FE3323E2177}" dt="2020-04-04T20:28:55.777" v="7928" actId="478"/>
          <ac:spMkLst>
            <pc:docMk/>
            <pc:sldMk cId="1517492490" sldId="353"/>
            <ac:spMk id="18" creationId="{5BC4AEDF-4BF6-40D1-9701-DF7D969962AA}"/>
          </ac:spMkLst>
        </pc:spChg>
        <pc:picChg chg="del">
          <ac:chgData name="Minh-Kha Nguyen" userId="73ea909082ace275" providerId="LiveId" clId="{B1554112-6404-403C-A743-7FE3323E2177}" dt="2020-04-04T20:28:55.777" v="7928" actId="478"/>
          <ac:picMkLst>
            <pc:docMk/>
            <pc:sldMk cId="1517492490" sldId="353"/>
            <ac:picMk id="6" creationId="{182F4DCE-3821-4CD2-9A16-8FB1B79D4BB7}"/>
          </ac:picMkLst>
        </pc:picChg>
        <pc:picChg chg="del">
          <ac:chgData name="Minh-Kha Nguyen" userId="73ea909082ace275" providerId="LiveId" clId="{B1554112-6404-403C-A743-7FE3323E2177}" dt="2020-04-04T20:28:55.777" v="7928" actId="478"/>
          <ac:picMkLst>
            <pc:docMk/>
            <pc:sldMk cId="1517492490" sldId="353"/>
            <ac:picMk id="22" creationId="{480A263A-270E-43AF-B23A-9F6DA2230A4F}"/>
          </ac:picMkLst>
        </pc:picChg>
        <pc:picChg chg="del">
          <ac:chgData name="Minh-Kha Nguyen" userId="73ea909082ace275" providerId="LiveId" clId="{B1554112-6404-403C-A743-7FE3323E2177}" dt="2020-04-04T20:28:55.777" v="7928" actId="478"/>
          <ac:picMkLst>
            <pc:docMk/>
            <pc:sldMk cId="1517492490" sldId="353"/>
            <ac:picMk id="23" creationId="{DA75398B-B068-4C34-B533-5F1A81D3405A}"/>
          </ac:picMkLst>
        </pc:picChg>
        <pc:picChg chg="del">
          <ac:chgData name="Minh-Kha Nguyen" userId="73ea909082ace275" providerId="LiveId" clId="{B1554112-6404-403C-A743-7FE3323E2177}" dt="2020-04-04T20:28:55.777" v="7928" actId="478"/>
          <ac:picMkLst>
            <pc:docMk/>
            <pc:sldMk cId="1517492490" sldId="353"/>
            <ac:picMk id="24" creationId="{1A18C5D9-151F-4498-B618-59A2918CE727}"/>
          </ac:picMkLst>
        </pc:picChg>
        <pc:picChg chg="del">
          <ac:chgData name="Minh-Kha Nguyen" userId="73ea909082ace275" providerId="LiveId" clId="{B1554112-6404-403C-A743-7FE3323E2177}" dt="2020-04-04T20:28:55.777" v="7928" actId="478"/>
          <ac:picMkLst>
            <pc:docMk/>
            <pc:sldMk cId="1517492490" sldId="353"/>
            <ac:picMk id="25" creationId="{F003F246-D63E-4813-857C-EF0CEE87B0E9}"/>
          </ac:picMkLst>
        </pc:picChg>
        <pc:cxnChg chg="del">
          <ac:chgData name="Minh-Kha Nguyen" userId="73ea909082ace275" providerId="LiveId" clId="{B1554112-6404-403C-A743-7FE3323E2177}" dt="2020-04-04T20:28:55.777" v="7928" actId="478"/>
          <ac:cxnSpMkLst>
            <pc:docMk/>
            <pc:sldMk cId="1517492490" sldId="353"/>
            <ac:cxnSpMk id="5" creationId="{6E2FCDCB-5D26-4B72-B533-BD908B00B56D}"/>
          </ac:cxnSpMkLst>
        </pc:cxnChg>
      </pc:sldChg>
      <pc:sldChg chg="addSp delSp modSp add mod ord">
        <pc:chgData name="Minh-Kha Nguyen" userId="73ea909082ace275" providerId="LiveId" clId="{B1554112-6404-403C-A743-7FE3323E2177}" dt="2020-04-04T22:02:37.606" v="10880" actId="1038"/>
        <pc:sldMkLst>
          <pc:docMk/>
          <pc:sldMk cId="206690976" sldId="354"/>
        </pc:sldMkLst>
        <pc:spChg chg="mod ord">
          <ac:chgData name="Minh-Kha Nguyen" userId="73ea909082ace275" providerId="LiveId" clId="{B1554112-6404-403C-A743-7FE3323E2177}" dt="2020-04-04T21:20:03.910" v="9899"/>
          <ac:spMkLst>
            <pc:docMk/>
            <pc:sldMk cId="206690976" sldId="354"/>
            <ac:spMk id="3" creationId="{2CD8122E-8A66-4F65-9740-7DC1B59991AD}"/>
          </ac:spMkLst>
        </pc:spChg>
        <pc:spChg chg="mod ord">
          <ac:chgData name="Minh-Kha Nguyen" userId="73ea909082ace275" providerId="LiveId" clId="{B1554112-6404-403C-A743-7FE3323E2177}" dt="2020-04-04T21:20:03.915" v="9907"/>
          <ac:spMkLst>
            <pc:docMk/>
            <pc:sldMk cId="206690976" sldId="354"/>
            <ac:spMk id="8" creationId="{CCE6CBF3-DE61-4DDF-94B4-4B6B7D9577E7}"/>
          </ac:spMkLst>
        </pc:spChg>
        <pc:spChg chg="add mod ord">
          <ac:chgData name="Minh-Kha Nguyen" userId="73ea909082ace275" providerId="LiveId" clId="{B1554112-6404-403C-A743-7FE3323E2177}" dt="2020-04-04T21:13:10.671" v="9306" actId="164"/>
          <ac:spMkLst>
            <pc:docMk/>
            <pc:sldMk cId="206690976" sldId="354"/>
            <ac:spMk id="10" creationId="{8171DBA0-8C16-4BB6-813F-2F671931D784}"/>
          </ac:spMkLst>
        </pc:spChg>
        <pc:spChg chg="add mod ord">
          <ac:chgData name="Minh-Kha Nguyen" userId="73ea909082ace275" providerId="LiveId" clId="{B1554112-6404-403C-A743-7FE3323E2177}" dt="2020-04-04T21:20:03.917" v="9911"/>
          <ac:spMkLst>
            <pc:docMk/>
            <pc:sldMk cId="206690976" sldId="354"/>
            <ac:spMk id="13" creationId="{B1EAEC94-D35A-41FB-A756-CDF70C92D673}"/>
          </ac:spMkLst>
        </pc:spChg>
        <pc:spChg chg="del mod topLvl">
          <ac:chgData name="Minh-Kha Nguyen" userId="73ea909082ace275" providerId="LiveId" clId="{B1554112-6404-403C-A743-7FE3323E2177}" dt="2020-04-04T20:38:19.663" v="8162" actId="478"/>
          <ac:spMkLst>
            <pc:docMk/>
            <pc:sldMk cId="206690976" sldId="354"/>
            <ac:spMk id="20" creationId="{C4101137-DAC9-4306-8244-71441308FA49}"/>
          </ac:spMkLst>
        </pc:spChg>
        <pc:spChg chg="del mod topLvl">
          <ac:chgData name="Minh-Kha Nguyen" userId="73ea909082ace275" providerId="LiveId" clId="{B1554112-6404-403C-A743-7FE3323E2177}" dt="2020-04-04T20:38:25.449" v="8164" actId="478"/>
          <ac:spMkLst>
            <pc:docMk/>
            <pc:sldMk cId="206690976" sldId="354"/>
            <ac:spMk id="21" creationId="{6456602F-03C9-492C-852A-BB793AA35A55}"/>
          </ac:spMkLst>
        </pc:spChg>
        <pc:spChg chg="mod topLvl">
          <ac:chgData name="Minh-Kha Nguyen" userId="73ea909082ace275" providerId="LiveId" clId="{B1554112-6404-403C-A743-7FE3323E2177}" dt="2020-04-04T20:38:34.247" v="8165" actId="164"/>
          <ac:spMkLst>
            <pc:docMk/>
            <pc:sldMk cId="206690976" sldId="354"/>
            <ac:spMk id="28" creationId="{2053F81D-1F32-4E43-9604-0BD8D3D3AB69}"/>
          </ac:spMkLst>
        </pc:spChg>
        <pc:spChg chg="mod topLvl">
          <ac:chgData name="Minh-Kha Nguyen" userId="73ea909082ace275" providerId="LiveId" clId="{B1554112-6404-403C-A743-7FE3323E2177}" dt="2020-04-04T20:38:34.247" v="8165" actId="164"/>
          <ac:spMkLst>
            <pc:docMk/>
            <pc:sldMk cId="206690976" sldId="354"/>
            <ac:spMk id="29" creationId="{73221DA5-2849-411F-8402-605564DEEBB9}"/>
          </ac:spMkLst>
        </pc:spChg>
        <pc:spChg chg="mod topLvl">
          <ac:chgData name="Minh-Kha Nguyen" userId="73ea909082ace275" providerId="LiveId" clId="{B1554112-6404-403C-A743-7FE3323E2177}" dt="2020-04-04T20:38:34.247" v="8165" actId="164"/>
          <ac:spMkLst>
            <pc:docMk/>
            <pc:sldMk cId="206690976" sldId="354"/>
            <ac:spMk id="30" creationId="{013896C6-4A99-44AD-85B2-5AAC5EE26309}"/>
          </ac:spMkLst>
        </pc:spChg>
        <pc:spChg chg="mod topLvl">
          <ac:chgData name="Minh-Kha Nguyen" userId="73ea909082ace275" providerId="LiveId" clId="{B1554112-6404-403C-A743-7FE3323E2177}" dt="2020-04-04T20:38:34.247" v="8165" actId="164"/>
          <ac:spMkLst>
            <pc:docMk/>
            <pc:sldMk cId="206690976" sldId="354"/>
            <ac:spMk id="31" creationId="{B024A189-FFC2-42EF-BA0F-53FF7A879D13}"/>
          </ac:spMkLst>
        </pc:spChg>
        <pc:spChg chg="add del mod ord">
          <ac:chgData name="Minh-Kha Nguyen" userId="73ea909082ace275" providerId="LiveId" clId="{B1554112-6404-403C-A743-7FE3323E2177}" dt="2020-04-04T21:13:57.391" v="9343" actId="478"/>
          <ac:spMkLst>
            <pc:docMk/>
            <pc:sldMk cId="206690976" sldId="354"/>
            <ac:spMk id="35" creationId="{792EDF0B-DA2C-4D6A-80F5-A810A430FF34}"/>
          </ac:spMkLst>
        </pc:spChg>
        <pc:spChg chg="add del mod ord">
          <ac:chgData name="Minh-Kha Nguyen" userId="73ea909082ace275" providerId="LiveId" clId="{B1554112-6404-403C-A743-7FE3323E2177}" dt="2020-04-04T21:13:57.391" v="9343" actId="478"/>
          <ac:spMkLst>
            <pc:docMk/>
            <pc:sldMk cId="206690976" sldId="354"/>
            <ac:spMk id="36" creationId="{8897AD99-6F25-4532-9A05-E3196B105B29}"/>
          </ac:spMkLst>
        </pc:spChg>
        <pc:spChg chg="add del mod ord">
          <ac:chgData name="Minh-Kha Nguyen" userId="73ea909082ace275" providerId="LiveId" clId="{B1554112-6404-403C-A743-7FE3323E2177}" dt="2020-04-04T21:13:57.391" v="9343" actId="478"/>
          <ac:spMkLst>
            <pc:docMk/>
            <pc:sldMk cId="206690976" sldId="354"/>
            <ac:spMk id="37" creationId="{88AD8032-1E69-46FC-8BE8-6ABA31E26308}"/>
          </ac:spMkLst>
        </pc:spChg>
        <pc:spChg chg="add mod ord">
          <ac:chgData name="Minh-Kha Nguyen" userId="73ea909082ace275" providerId="LiveId" clId="{B1554112-6404-403C-A743-7FE3323E2177}" dt="2020-04-04T22:02:37.606" v="10880" actId="1038"/>
          <ac:spMkLst>
            <pc:docMk/>
            <pc:sldMk cId="206690976" sldId="354"/>
            <ac:spMk id="38" creationId="{480359F7-BC9F-4DDB-B848-41042BE92F07}"/>
          </ac:spMkLst>
        </pc:spChg>
        <pc:spChg chg="add mod ord topLvl">
          <ac:chgData name="Minh-Kha Nguyen" userId="73ea909082ace275" providerId="LiveId" clId="{B1554112-6404-403C-A743-7FE3323E2177}" dt="2020-04-04T22:02:13.221" v="10870" actId="1035"/>
          <ac:spMkLst>
            <pc:docMk/>
            <pc:sldMk cId="206690976" sldId="354"/>
            <ac:spMk id="39" creationId="{224D8462-E554-46A2-9724-16BC0BD772FF}"/>
          </ac:spMkLst>
        </pc:spChg>
        <pc:spChg chg="add mod ord topLvl">
          <ac:chgData name="Minh-Kha Nguyen" userId="73ea909082ace275" providerId="LiveId" clId="{B1554112-6404-403C-A743-7FE3323E2177}" dt="2020-04-04T22:02:16.706" v="10875" actId="1035"/>
          <ac:spMkLst>
            <pc:docMk/>
            <pc:sldMk cId="206690976" sldId="354"/>
            <ac:spMk id="40" creationId="{45AE1ACE-821A-46A7-AD21-8BA7B9DB975F}"/>
          </ac:spMkLst>
        </pc:spChg>
        <pc:spChg chg="add del mod ord">
          <ac:chgData name="Minh-Kha Nguyen" userId="73ea909082ace275" providerId="LiveId" clId="{B1554112-6404-403C-A743-7FE3323E2177}" dt="2020-04-04T21:10:32.428" v="9119" actId="478"/>
          <ac:spMkLst>
            <pc:docMk/>
            <pc:sldMk cId="206690976" sldId="354"/>
            <ac:spMk id="41" creationId="{F2AEE3EB-9239-4181-BAA7-D6CABF0298AE}"/>
          </ac:spMkLst>
        </pc:spChg>
        <pc:spChg chg="add del mod ord">
          <ac:chgData name="Minh-Kha Nguyen" userId="73ea909082ace275" providerId="LiveId" clId="{B1554112-6404-403C-A743-7FE3323E2177}" dt="2020-04-04T21:10:32.428" v="9119" actId="478"/>
          <ac:spMkLst>
            <pc:docMk/>
            <pc:sldMk cId="206690976" sldId="354"/>
            <ac:spMk id="42" creationId="{372258B4-3D6A-42E2-9494-6D8B7C60C237}"/>
          </ac:spMkLst>
        </pc:spChg>
        <pc:spChg chg="add mod">
          <ac:chgData name="Minh-Kha Nguyen" userId="73ea909082ace275" providerId="LiveId" clId="{B1554112-6404-403C-A743-7FE3323E2177}" dt="2020-04-04T21:13:07.291" v="9305" actId="164"/>
          <ac:spMkLst>
            <pc:docMk/>
            <pc:sldMk cId="206690976" sldId="354"/>
            <ac:spMk id="48" creationId="{60C47D30-CDC5-4B27-B196-32514461B7B8}"/>
          </ac:spMkLst>
        </pc:spChg>
        <pc:spChg chg="add mod ord">
          <ac:chgData name="Minh-Kha Nguyen" userId="73ea909082ace275" providerId="LiveId" clId="{B1554112-6404-403C-A743-7FE3323E2177}" dt="2020-04-04T21:17:45.419" v="9784" actId="164"/>
          <ac:spMkLst>
            <pc:docMk/>
            <pc:sldMk cId="206690976" sldId="354"/>
            <ac:spMk id="55" creationId="{CF0E47C2-82CC-4C08-8758-A996C033E464}"/>
          </ac:spMkLst>
        </pc:spChg>
        <pc:spChg chg="add mod ord topLvl">
          <ac:chgData name="Minh-Kha Nguyen" userId="73ea909082ace275" providerId="LiveId" clId="{B1554112-6404-403C-A743-7FE3323E2177}" dt="2020-04-04T21:20:03.921" v="9919"/>
          <ac:spMkLst>
            <pc:docMk/>
            <pc:sldMk cId="206690976" sldId="354"/>
            <ac:spMk id="56" creationId="{975A5DD3-1C7F-4DF9-A683-DC221FBD0CC3}"/>
          </ac:spMkLst>
        </pc:spChg>
        <pc:spChg chg="add mod ord topLvl">
          <ac:chgData name="Minh-Kha Nguyen" userId="73ea909082ace275" providerId="LiveId" clId="{B1554112-6404-403C-A743-7FE3323E2177}" dt="2020-04-04T21:20:03.923" v="9925"/>
          <ac:spMkLst>
            <pc:docMk/>
            <pc:sldMk cId="206690976" sldId="354"/>
            <ac:spMk id="57" creationId="{A8E55BB4-BBD7-4C21-A475-E4A32F9ABECB}"/>
          </ac:spMkLst>
        </pc:spChg>
        <pc:spChg chg="topLvl">
          <ac:chgData name="Minh-Kha Nguyen" userId="73ea909082ace275" providerId="LiveId" clId="{B1554112-6404-403C-A743-7FE3323E2177}" dt="2020-04-04T21:27:54.991" v="10115" actId="478"/>
          <ac:spMkLst>
            <pc:docMk/>
            <pc:sldMk cId="206690976" sldId="354"/>
            <ac:spMk id="62" creationId="{110600D7-A1C3-45EB-B32A-48762FD43D34}"/>
          </ac:spMkLst>
        </pc:spChg>
        <pc:spChg chg="mod ord topLvl">
          <ac:chgData name="Minh-Kha Nguyen" userId="73ea909082ace275" providerId="LiveId" clId="{B1554112-6404-403C-A743-7FE3323E2177}" dt="2020-04-04T21:17:45.419" v="9784" actId="164"/>
          <ac:spMkLst>
            <pc:docMk/>
            <pc:sldMk cId="206690976" sldId="354"/>
            <ac:spMk id="66" creationId="{D2DC3821-FC00-41A0-8D58-DB9FB83DA8FC}"/>
          </ac:spMkLst>
        </pc:spChg>
        <pc:spChg chg="add mod ord topLvl">
          <ac:chgData name="Minh-Kha Nguyen" userId="73ea909082ace275" providerId="LiveId" clId="{B1554112-6404-403C-A743-7FE3323E2177}" dt="2020-04-04T21:20:03.911" v="9901"/>
          <ac:spMkLst>
            <pc:docMk/>
            <pc:sldMk cId="206690976" sldId="354"/>
            <ac:spMk id="69" creationId="{9C339A2B-E9C5-462B-9238-6ADDDC5BA5C8}"/>
          </ac:spMkLst>
        </pc:spChg>
        <pc:spChg chg="add mod ord topLvl">
          <ac:chgData name="Minh-Kha Nguyen" userId="73ea909082ace275" providerId="LiveId" clId="{B1554112-6404-403C-A743-7FE3323E2177}" dt="2020-04-04T21:20:03.912" v="9903"/>
          <ac:spMkLst>
            <pc:docMk/>
            <pc:sldMk cId="206690976" sldId="354"/>
            <ac:spMk id="70" creationId="{E9BB4084-AD3C-4A34-8BF3-9181F332EEB2}"/>
          </ac:spMkLst>
        </pc:spChg>
        <pc:grpChg chg="add del mod ord">
          <ac:chgData name="Minh-Kha Nguyen" userId="73ea909082ace275" providerId="LiveId" clId="{B1554112-6404-403C-A743-7FE3323E2177}" dt="2020-04-04T21:05:03.955" v="8975" actId="478"/>
          <ac:grpSpMkLst>
            <pc:docMk/>
            <pc:sldMk cId="206690976" sldId="354"/>
            <ac:grpSpMk id="9" creationId="{04112B6C-48EC-4CE8-830B-1A8769077126}"/>
          </ac:grpSpMkLst>
        </pc:grpChg>
        <pc:grpChg chg="add del">
          <ac:chgData name="Minh-Kha Nguyen" userId="73ea909082ace275" providerId="LiveId" clId="{B1554112-6404-403C-A743-7FE3323E2177}" dt="2020-04-04T20:38:08.532" v="8159" actId="165"/>
          <ac:grpSpMkLst>
            <pc:docMk/>
            <pc:sldMk cId="206690976" sldId="354"/>
            <ac:grpSpMk id="18" creationId="{D604DB38-1C07-463B-8A5B-F7D46A90F4E2}"/>
          </ac:grpSpMkLst>
        </pc:grpChg>
        <pc:grpChg chg="add del mod topLvl">
          <ac:chgData name="Minh-Kha Nguyen" userId="73ea909082ace275" providerId="LiveId" clId="{B1554112-6404-403C-A743-7FE3323E2177}" dt="2020-04-04T20:38:21.625" v="8163" actId="165"/>
          <ac:grpSpMkLst>
            <pc:docMk/>
            <pc:sldMk cId="206690976" sldId="354"/>
            <ac:grpSpMk id="19" creationId="{CCEFF8D2-6D29-4950-9EB1-99F46C6AFA69}"/>
          </ac:grpSpMkLst>
        </pc:grpChg>
        <pc:grpChg chg="mod topLvl">
          <ac:chgData name="Minh-Kha Nguyen" userId="73ea909082ace275" providerId="LiveId" clId="{B1554112-6404-403C-A743-7FE3323E2177}" dt="2020-04-04T20:50:23.462" v="8938"/>
          <ac:grpSpMkLst>
            <pc:docMk/>
            <pc:sldMk cId="206690976" sldId="354"/>
            <ac:grpSpMk id="32" creationId="{2B4CD6AC-A667-4F01-8705-B643F8941D3C}"/>
          </ac:grpSpMkLst>
        </pc:grpChg>
        <pc:grpChg chg="add mod ord topLvl">
          <ac:chgData name="Minh-Kha Nguyen" userId="73ea909082ace275" providerId="LiveId" clId="{B1554112-6404-403C-A743-7FE3323E2177}" dt="2020-04-04T21:20:03.920" v="9917"/>
          <ac:grpSpMkLst>
            <pc:docMk/>
            <pc:sldMk cId="206690976" sldId="354"/>
            <ac:grpSpMk id="53" creationId="{F2EFCBD1-F5F9-4344-9922-3C2C41BEB22B}"/>
          </ac:grpSpMkLst>
        </pc:grpChg>
        <pc:grpChg chg="add mod ord">
          <ac:chgData name="Minh-Kha Nguyen" userId="73ea909082ace275" providerId="LiveId" clId="{B1554112-6404-403C-A743-7FE3323E2177}" dt="2020-04-04T21:17:45.419" v="9784" actId="164"/>
          <ac:grpSpMkLst>
            <pc:docMk/>
            <pc:sldMk cId="206690976" sldId="354"/>
            <ac:grpSpMk id="54" creationId="{96E0A0B6-8070-471E-8B79-49CC702D2EFA}"/>
          </ac:grpSpMkLst>
        </pc:grpChg>
        <pc:grpChg chg="add del mod ord topLvl">
          <ac:chgData name="Minh-Kha Nguyen" userId="73ea909082ace275" providerId="LiveId" clId="{B1554112-6404-403C-A743-7FE3323E2177}" dt="2020-04-04T21:27:54.991" v="10115" actId="478"/>
          <ac:grpSpMkLst>
            <pc:docMk/>
            <pc:sldMk cId="206690976" sldId="354"/>
            <ac:grpSpMk id="61" creationId="{54B99849-B14C-4434-A82C-91601D1C69F0}"/>
          </ac:grpSpMkLst>
        </pc:grpChg>
        <pc:grpChg chg="add del mod">
          <ac:chgData name="Minh-Kha Nguyen" userId="73ea909082ace275" providerId="LiveId" clId="{B1554112-6404-403C-A743-7FE3323E2177}" dt="2020-04-04T21:15:56.893" v="9484" actId="478"/>
          <ac:grpSpMkLst>
            <pc:docMk/>
            <pc:sldMk cId="206690976" sldId="354"/>
            <ac:grpSpMk id="65" creationId="{ADDB038B-AAF0-4912-91F4-2664DB5678F4}"/>
          </ac:grpSpMkLst>
        </pc:grpChg>
        <pc:grpChg chg="add del mod ord">
          <ac:chgData name="Minh-Kha Nguyen" userId="73ea909082ace275" providerId="LiveId" clId="{B1554112-6404-403C-A743-7FE3323E2177}" dt="2020-04-04T21:19:53.594" v="9895" actId="165"/>
          <ac:grpSpMkLst>
            <pc:docMk/>
            <pc:sldMk cId="206690976" sldId="354"/>
            <ac:grpSpMk id="71" creationId="{1095CFFC-14E9-4BBC-96CC-77C41B47741C}"/>
          </ac:grpSpMkLst>
        </pc:grpChg>
        <pc:grpChg chg="add del mod ord">
          <ac:chgData name="Minh-Kha Nguyen" userId="73ea909082ace275" providerId="LiveId" clId="{B1554112-6404-403C-A743-7FE3323E2177}" dt="2020-04-04T21:19:45.555" v="9894" actId="165"/>
          <ac:grpSpMkLst>
            <pc:docMk/>
            <pc:sldMk cId="206690976" sldId="354"/>
            <ac:grpSpMk id="72" creationId="{3CAC9EFA-38F8-4AB9-8F4E-B967CB672EE9}"/>
          </ac:grpSpMkLst>
        </pc:grpChg>
        <pc:grpChg chg="add mod ord">
          <ac:chgData name="Minh-Kha Nguyen" userId="73ea909082ace275" providerId="LiveId" clId="{B1554112-6404-403C-A743-7FE3323E2177}" dt="2020-04-04T21:20:03.918" v="9913"/>
          <ac:grpSpMkLst>
            <pc:docMk/>
            <pc:sldMk cId="206690976" sldId="354"/>
            <ac:grpSpMk id="73" creationId="{EE5D0819-2775-444C-8A42-D1ACF76677A8}"/>
          </ac:grpSpMkLst>
        </pc:grpChg>
        <pc:graphicFrameChg chg="mod ord">
          <ac:chgData name="Minh-Kha Nguyen" userId="73ea909082ace275" providerId="LiveId" clId="{B1554112-6404-403C-A743-7FE3323E2177}" dt="2020-04-04T21:20:03.927" v="9931"/>
          <ac:graphicFrameMkLst>
            <pc:docMk/>
            <pc:sldMk cId="206690976" sldId="354"/>
            <ac:graphicFrameMk id="4" creationId="{0335BD31-9BEB-4951-908E-6DF29B0B511F}"/>
          </ac:graphicFrameMkLst>
        </pc:graphicFrameChg>
        <pc:picChg chg="del mod ord">
          <ac:chgData name="Minh-Kha Nguyen" userId="73ea909082ace275" providerId="LiveId" clId="{B1554112-6404-403C-A743-7FE3323E2177}" dt="2020-04-04T21:05:05.525" v="8976" actId="478"/>
          <ac:picMkLst>
            <pc:docMk/>
            <pc:sldMk cId="206690976" sldId="354"/>
            <ac:picMk id="6" creationId="{182F4DCE-3821-4CD2-9A16-8FB1B79D4BB7}"/>
          </ac:picMkLst>
        </pc:picChg>
        <pc:picChg chg="mod ord">
          <ac:chgData name="Minh-Kha Nguyen" userId="73ea909082ace275" providerId="LiveId" clId="{B1554112-6404-403C-A743-7FE3323E2177}" dt="2020-04-04T21:20:03.914" v="9905"/>
          <ac:picMkLst>
            <pc:docMk/>
            <pc:sldMk cId="206690976" sldId="354"/>
            <ac:picMk id="7" creationId="{FC6A73B6-536F-408E-810E-4BE805091326}"/>
          </ac:picMkLst>
        </pc:picChg>
        <pc:picChg chg="add mod">
          <ac:chgData name="Minh-Kha Nguyen" userId="73ea909082ace275" providerId="LiveId" clId="{B1554112-6404-403C-A743-7FE3323E2177}" dt="2020-04-04T21:13:10.671" v="9306" actId="164"/>
          <ac:picMkLst>
            <pc:docMk/>
            <pc:sldMk cId="206690976" sldId="354"/>
            <ac:picMk id="12" creationId="{A6745125-A927-490D-B6FD-0B579A79E236}"/>
          </ac:picMkLst>
        </pc:picChg>
        <pc:picChg chg="add del mod ord">
          <ac:chgData name="Minh-Kha Nguyen" userId="73ea909082ace275" providerId="LiveId" clId="{B1554112-6404-403C-A743-7FE3323E2177}" dt="2020-04-04T21:05:13.153" v="8977" actId="478"/>
          <ac:picMkLst>
            <pc:docMk/>
            <pc:sldMk cId="206690976" sldId="354"/>
            <ac:picMk id="14" creationId="{85B69889-22D9-45CE-9A21-C9E63A6FB8B8}"/>
          </ac:picMkLst>
        </pc:picChg>
        <pc:picChg chg="add del mod ord">
          <ac:chgData name="Minh-Kha Nguyen" userId="73ea909082ace275" providerId="LiveId" clId="{B1554112-6404-403C-A743-7FE3323E2177}" dt="2020-04-04T21:05:13.153" v="8977" actId="478"/>
          <ac:picMkLst>
            <pc:docMk/>
            <pc:sldMk cId="206690976" sldId="354"/>
            <ac:picMk id="15" creationId="{1714299B-29CA-4C20-A11D-8778418BC738}"/>
          </ac:picMkLst>
        </pc:picChg>
        <pc:picChg chg="add del mod ord">
          <ac:chgData name="Minh-Kha Nguyen" userId="73ea909082ace275" providerId="LiveId" clId="{B1554112-6404-403C-A743-7FE3323E2177}" dt="2020-04-04T21:05:13.153" v="8977" actId="478"/>
          <ac:picMkLst>
            <pc:docMk/>
            <pc:sldMk cId="206690976" sldId="354"/>
            <ac:picMk id="16" creationId="{86062315-277C-45FB-98CB-CBB49CF6A823}"/>
          </ac:picMkLst>
        </pc:picChg>
        <pc:picChg chg="add del mod ord">
          <ac:chgData name="Minh-Kha Nguyen" userId="73ea909082ace275" providerId="LiveId" clId="{B1554112-6404-403C-A743-7FE3323E2177}" dt="2020-04-04T21:05:13.153" v="8977" actId="478"/>
          <ac:picMkLst>
            <pc:docMk/>
            <pc:sldMk cId="206690976" sldId="354"/>
            <ac:picMk id="17" creationId="{3A318AB7-2127-483F-A9F2-5055DDC45485}"/>
          </ac:picMkLst>
        </pc:picChg>
        <pc:picChg chg="del">
          <ac:chgData name="Minh-Kha Nguyen" userId="73ea909082ace275" providerId="LiveId" clId="{B1554112-6404-403C-A743-7FE3323E2177}" dt="2020-04-04T20:31:21.281" v="7935" actId="478"/>
          <ac:picMkLst>
            <pc:docMk/>
            <pc:sldMk cId="206690976" sldId="354"/>
            <ac:picMk id="22" creationId="{480A263A-270E-43AF-B23A-9F6DA2230A4F}"/>
          </ac:picMkLst>
        </pc:picChg>
        <pc:picChg chg="del">
          <ac:chgData name="Minh-Kha Nguyen" userId="73ea909082ace275" providerId="LiveId" clId="{B1554112-6404-403C-A743-7FE3323E2177}" dt="2020-04-04T20:31:18.837" v="7934" actId="478"/>
          <ac:picMkLst>
            <pc:docMk/>
            <pc:sldMk cId="206690976" sldId="354"/>
            <ac:picMk id="23" creationId="{DA75398B-B068-4C34-B533-5F1A81D3405A}"/>
          </ac:picMkLst>
        </pc:picChg>
        <pc:picChg chg="del">
          <ac:chgData name="Minh-Kha Nguyen" userId="73ea909082ace275" providerId="LiveId" clId="{B1554112-6404-403C-A743-7FE3323E2177}" dt="2020-04-04T20:31:18.837" v="7934" actId="478"/>
          <ac:picMkLst>
            <pc:docMk/>
            <pc:sldMk cId="206690976" sldId="354"/>
            <ac:picMk id="24" creationId="{1A18C5D9-151F-4498-B618-59A2918CE727}"/>
          </ac:picMkLst>
        </pc:picChg>
        <pc:picChg chg="del">
          <ac:chgData name="Minh-Kha Nguyen" userId="73ea909082ace275" providerId="LiveId" clId="{B1554112-6404-403C-A743-7FE3323E2177}" dt="2020-04-04T20:31:21.281" v="7935" actId="478"/>
          <ac:picMkLst>
            <pc:docMk/>
            <pc:sldMk cId="206690976" sldId="354"/>
            <ac:picMk id="25" creationId="{F003F246-D63E-4813-857C-EF0CEE87B0E9}"/>
          </ac:picMkLst>
        </pc:picChg>
        <pc:picChg chg="mod topLvl">
          <ac:chgData name="Minh-Kha Nguyen" userId="73ea909082ace275" providerId="LiveId" clId="{B1554112-6404-403C-A743-7FE3323E2177}" dt="2020-04-04T20:38:34.247" v="8165" actId="164"/>
          <ac:picMkLst>
            <pc:docMk/>
            <pc:sldMk cId="206690976" sldId="354"/>
            <ac:picMk id="26" creationId="{C064C6E5-5BAC-4104-9119-F5E8383E404F}"/>
          </ac:picMkLst>
        </pc:picChg>
        <pc:picChg chg="mod topLvl">
          <ac:chgData name="Minh-Kha Nguyen" userId="73ea909082ace275" providerId="LiveId" clId="{B1554112-6404-403C-A743-7FE3323E2177}" dt="2020-04-04T20:38:34.247" v="8165" actId="164"/>
          <ac:picMkLst>
            <pc:docMk/>
            <pc:sldMk cId="206690976" sldId="354"/>
            <ac:picMk id="27" creationId="{EBEDEF56-81EB-4E46-8294-18294E6B444D}"/>
          </ac:picMkLst>
        </pc:picChg>
        <pc:picChg chg="add mod">
          <ac:chgData name="Minh-Kha Nguyen" userId="73ea909082ace275" providerId="LiveId" clId="{B1554112-6404-403C-A743-7FE3323E2177}" dt="2020-04-04T21:13:10.671" v="9306" actId="164"/>
          <ac:picMkLst>
            <pc:docMk/>
            <pc:sldMk cId="206690976" sldId="354"/>
            <ac:picMk id="47" creationId="{3C823081-ECE0-4187-9069-0DF0ABFEAA57}"/>
          </ac:picMkLst>
        </pc:picChg>
        <pc:picChg chg="add mod">
          <ac:chgData name="Minh-Kha Nguyen" userId="73ea909082ace275" providerId="LiveId" clId="{B1554112-6404-403C-A743-7FE3323E2177}" dt="2020-04-04T21:13:07.291" v="9305" actId="164"/>
          <ac:picMkLst>
            <pc:docMk/>
            <pc:sldMk cId="206690976" sldId="354"/>
            <ac:picMk id="50" creationId="{5BF1873F-3110-4CE3-93AF-53E9AC9CC93C}"/>
          </ac:picMkLst>
        </pc:picChg>
        <pc:picChg chg="add mod">
          <ac:chgData name="Minh-Kha Nguyen" userId="73ea909082ace275" providerId="LiveId" clId="{B1554112-6404-403C-A743-7FE3323E2177}" dt="2020-04-04T21:13:07.291" v="9305" actId="164"/>
          <ac:picMkLst>
            <pc:docMk/>
            <pc:sldMk cId="206690976" sldId="354"/>
            <ac:picMk id="52" creationId="{7AB22B19-1DDD-47F4-A8F5-6E05145C9134}"/>
          </ac:picMkLst>
        </pc:picChg>
        <pc:picChg chg="del">
          <ac:chgData name="Minh-Kha Nguyen" userId="73ea909082ace275" providerId="LiveId" clId="{B1554112-6404-403C-A743-7FE3323E2177}" dt="2020-04-04T21:27:53.007" v="10114" actId="478"/>
          <ac:picMkLst>
            <pc:docMk/>
            <pc:sldMk cId="206690976" sldId="354"/>
            <ac:picMk id="63" creationId="{BA29875B-9677-4F82-B4E1-57FC3E53E230}"/>
          </ac:picMkLst>
        </pc:picChg>
        <pc:picChg chg="del topLvl">
          <ac:chgData name="Minh-Kha Nguyen" userId="73ea909082ace275" providerId="LiveId" clId="{B1554112-6404-403C-A743-7FE3323E2177}" dt="2020-04-04T21:27:54.991" v="10115" actId="478"/>
          <ac:picMkLst>
            <pc:docMk/>
            <pc:sldMk cId="206690976" sldId="354"/>
            <ac:picMk id="64" creationId="{94F9D53D-2364-4000-8C8D-FCCC0F775C90}"/>
          </ac:picMkLst>
        </pc:picChg>
        <pc:picChg chg="del">
          <ac:chgData name="Minh-Kha Nguyen" userId="73ea909082ace275" providerId="LiveId" clId="{B1554112-6404-403C-A743-7FE3323E2177}" dt="2020-04-04T21:15:54.177" v="9483" actId="478"/>
          <ac:picMkLst>
            <pc:docMk/>
            <pc:sldMk cId="206690976" sldId="354"/>
            <ac:picMk id="67" creationId="{221115A5-0534-4FCB-9B94-12824DAAF822}"/>
          </ac:picMkLst>
        </pc:picChg>
        <pc:picChg chg="del topLvl">
          <ac:chgData name="Minh-Kha Nguyen" userId="73ea909082ace275" providerId="LiveId" clId="{B1554112-6404-403C-A743-7FE3323E2177}" dt="2020-04-04T21:15:56.893" v="9484" actId="478"/>
          <ac:picMkLst>
            <pc:docMk/>
            <pc:sldMk cId="206690976" sldId="354"/>
            <ac:picMk id="68" creationId="{9C776B97-BE22-40A3-B239-B68ECA891E74}"/>
          </ac:picMkLst>
        </pc:picChg>
        <pc:picChg chg="add mod">
          <ac:chgData name="Minh-Kha Nguyen" userId="73ea909082ace275" providerId="LiveId" clId="{B1554112-6404-403C-A743-7FE3323E2177}" dt="2020-04-04T21:29:48.754" v="10211" actId="1036"/>
          <ac:picMkLst>
            <pc:docMk/>
            <pc:sldMk cId="206690976" sldId="354"/>
            <ac:picMk id="74" creationId="{ACB62145-A9E6-4A2E-A8D0-1CF65B1D1741}"/>
          </ac:picMkLst>
        </pc:picChg>
        <pc:picChg chg="add mod">
          <ac:chgData name="Minh-Kha Nguyen" userId="73ea909082ace275" providerId="LiveId" clId="{B1554112-6404-403C-A743-7FE3323E2177}" dt="2020-04-04T21:28:49.658" v="10127" actId="1076"/>
          <ac:picMkLst>
            <pc:docMk/>
            <pc:sldMk cId="206690976" sldId="354"/>
            <ac:picMk id="75" creationId="{E610A49C-3960-4697-97DF-1B96517D7798}"/>
          </ac:picMkLst>
        </pc:picChg>
        <pc:picChg chg="add mod">
          <ac:chgData name="Minh-Kha Nguyen" userId="73ea909082ace275" providerId="LiveId" clId="{B1554112-6404-403C-A743-7FE3323E2177}" dt="2020-04-04T21:31:25.478" v="10289" actId="1037"/>
          <ac:picMkLst>
            <pc:docMk/>
            <pc:sldMk cId="206690976" sldId="354"/>
            <ac:picMk id="77" creationId="{D7878A20-3DB4-43D5-8EC0-A8E16F76B7BB}"/>
          </ac:picMkLst>
        </pc:picChg>
        <pc:picChg chg="add del mod">
          <ac:chgData name="Minh-Kha Nguyen" userId="73ea909082ace275" providerId="LiveId" clId="{B1554112-6404-403C-A743-7FE3323E2177}" dt="2020-04-04T21:30:01.132" v="10254" actId="478"/>
          <ac:picMkLst>
            <pc:docMk/>
            <pc:sldMk cId="206690976" sldId="354"/>
            <ac:picMk id="79" creationId="{51B34DA1-5D88-43CD-A103-214FD8331D74}"/>
          </ac:picMkLst>
        </pc:picChg>
        <pc:picChg chg="add del mod">
          <ac:chgData name="Minh-Kha Nguyen" userId="73ea909082ace275" providerId="LiveId" clId="{B1554112-6404-403C-A743-7FE3323E2177}" dt="2020-04-04T21:30:17.176" v="10256" actId="478"/>
          <ac:picMkLst>
            <pc:docMk/>
            <pc:sldMk cId="206690976" sldId="354"/>
            <ac:picMk id="81" creationId="{2539CFEC-986A-497F-8D3A-D2865F3CF58D}"/>
          </ac:picMkLst>
        </pc:picChg>
        <pc:picChg chg="add mod">
          <ac:chgData name="Minh-Kha Nguyen" userId="73ea909082ace275" providerId="LiveId" clId="{B1554112-6404-403C-A743-7FE3323E2177}" dt="2020-04-04T21:31:23.237" v="10282" actId="1076"/>
          <ac:picMkLst>
            <pc:docMk/>
            <pc:sldMk cId="206690976" sldId="354"/>
            <ac:picMk id="83" creationId="{7F8C2C0A-1B15-4E85-B4E7-188D4105B74F}"/>
          </ac:picMkLst>
        </pc:picChg>
        <pc:picChg chg="add mod">
          <ac:chgData name="Minh-Kha Nguyen" userId="73ea909082ace275" providerId="LiveId" clId="{B1554112-6404-403C-A743-7FE3323E2177}" dt="2020-04-04T21:31:43.572" v="10316" actId="1076"/>
          <ac:picMkLst>
            <pc:docMk/>
            <pc:sldMk cId="206690976" sldId="354"/>
            <ac:picMk id="85" creationId="{7E0D8D81-57A2-4166-B35E-E99D017C791A}"/>
          </ac:picMkLst>
        </pc:picChg>
        <pc:picChg chg="add del mod">
          <ac:chgData name="Minh-Kha Nguyen" userId="73ea909082ace275" providerId="LiveId" clId="{B1554112-6404-403C-A743-7FE3323E2177}" dt="2020-04-04T21:57:11.504" v="10819" actId="478"/>
          <ac:picMkLst>
            <pc:docMk/>
            <pc:sldMk cId="206690976" sldId="354"/>
            <ac:picMk id="86" creationId="{D3B24418-2AAE-4471-AB77-CA6CBDCECF24}"/>
          </ac:picMkLst>
        </pc:picChg>
        <pc:cxnChg chg="add mod ord">
          <ac:chgData name="Minh-Kha Nguyen" userId="73ea909082ace275" providerId="LiveId" clId="{B1554112-6404-403C-A743-7FE3323E2177}" dt="2020-04-04T21:20:03.916" v="9909"/>
          <ac:cxnSpMkLst>
            <pc:docMk/>
            <pc:sldMk cId="206690976" sldId="354"/>
            <ac:cxnSpMk id="5" creationId="{CEA37EED-B076-4C69-81A2-9796745377A6}"/>
          </ac:cxnSpMkLst>
        </pc:cxnChg>
        <pc:cxnChg chg="add del mod">
          <ac:chgData name="Minh-Kha Nguyen" userId="73ea909082ace275" providerId="LiveId" clId="{B1554112-6404-403C-A743-7FE3323E2177}" dt="2020-04-04T21:07:25.897" v="8986" actId="478"/>
          <ac:cxnSpMkLst>
            <pc:docMk/>
            <pc:sldMk cId="206690976" sldId="354"/>
            <ac:cxnSpMk id="43" creationId="{7167C45E-8A5B-4FA0-B8F3-C3AE8255E2CD}"/>
          </ac:cxnSpMkLst>
        </pc:cxnChg>
        <pc:cxnChg chg="add del mod">
          <ac:chgData name="Minh-Kha Nguyen" userId="73ea909082ace275" providerId="LiveId" clId="{B1554112-6404-403C-A743-7FE3323E2177}" dt="2020-04-04T21:07:25.897" v="8986" actId="478"/>
          <ac:cxnSpMkLst>
            <pc:docMk/>
            <pc:sldMk cId="206690976" sldId="354"/>
            <ac:cxnSpMk id="44" creationId="{7FAE3F6B-00B5-4681-BE15-8930948ED209}"/>
          </ac:cxnSpMkLst>
        </pc:cxnChg>
        <pc:cxnChg chg="add del mod">
          <ac:chgData name="Minh-Kha Nguyen" userId="73ea909082ace275" providerId="LiveId" clId="{B1554112-6404-403C-A743-7FE3323E2177}" dt="2020-04-04T21:07:25.897" v="8986" actId="478"/>
          <ac:cxnSpMkLst>
            <pc:docMk/>
            <pc:sldMk cId="206690976" sldId="354"/>
            <ac:cxnSpMk id="45" creationId="{33E2754E-1D10-48E0-8F28-6D92D11B3523}"/>
          </ac:cxnSpMkLst>
        </pc:cxnChg>
        <pc:cxnChg chg="add mod ord">
          <ac:chgData name="Minh-Kha Nguyen" userId="73ea909082ace275" providerId="LiveId" clId="{B1554112-6404-403C-A743-7FE3323E2177}" dt="2020-04-04T21:17:45.419" v="9784" actId="164"/>
          <ac:cxnSpMkLst>
            <pc:docMk/>
            <pc:sldMk cId="206690976" sldId="354"/>
            <ac:cxnSpMk id="58" creationId="{BCF5DFFB-D328-4142-8391-D2DE41CA4C5F}"/>
          </ac:cxnSpMkLst>
        </pc:cxnChg>
        <pc:cxnChg chg="add mod ord topLvl">
          <ac:chgData name="Minh-Kha Nguyen" userId="73ea909082ace275" providerId="LiveId" clId="{B1554112-6404-403C-A743-7FE3323E2177}" dt="2020-04-04T21:20:03.922" v="9921"/>
          <ac:cxnSpMkLst>
            <pc:docMk/>
            <pc:sldMk cId="206690976" sldId="354"/>
            <ac:cxnSpMk id="59" creationId="{3581A725-DB94-4D39-8DB8-711969E21745}"/>
          </ac:cxnSpMkLst>
        </pc:cxnChg>
        <pc:cxnChg chg="add mod ord topLvl">
          <ac:chgData name="Minh-Kha Nguyen" userId="73ea909082ace275" providerId="LiveId" clId="{B1554112-6404-403C-A743-7FE3323E2177}" dt="2020-04-04T21:20:03.924" v="9927"/>
          <ac:cxnSpMkLst>
            <pc:docMk/>
            <pc:sldMk cId="206690976" sldId="354"/>
            <ac:cxnSpMk id="60" creationId="{E9C3CCA1-9E40-4A91-B749-0DDD68ABE737}"/>
          </ac:cxnSpMkLst>
        </pc:cxnChg>
      </pc:sldChg>
      <pc:sldChg chg="add del">
        <pc:chgData name="Minh-Kha Nguyen" userId="73ea909082ace275" providerId="LiveId" clId="{B1554112-6404-403C-A743-7FE3323E2177}" dt="2020-04-04T20:31:06.013" v="7932" actId="47"/>
        <pc:sldMkLst>
          <pc:docMk/>
          <pc:sldMk cId="3387483615" sldId="354"/>
        </pc:sldMkLst>
      </pc:sldChg>
      <pc:sldChg chg="addSp delSp modSp add mod modTransition setBg">
        <pc:chgData name="Minh-Kha Nguyen" userId="73ea909082ace275" providerId="LiveId" clId="{B1554112-6404-403C-A743-7FE3323E2177}" dt="2020-04-05T11:39:35.297" v="14619" actId="20577"/>
        <pc:sldMkLst>
          <pc:docMk/>
          <pc:sldMk cId="2493492877" sldId="355"/>
        </pc:sldMkLst>
        <pc:spChg chg="del mod ord">
          <ac:chgData name="Minh-Kha Nguyen" userId="73ea909082ace275" providerId="LiveId" clId="{B1554112-6404-403C-A743-7FE3323E2177}" dt="2020-04-05T11:15:35.868" v="13077" actId="478"/>
          <ac:spMkLst>
            <pc:docMk/>
            <pc:sldMk cId="2493492877" sldId="355"/>
            <ac:spMk id="3" creationId="{2CD8122E-8A66-4F65-9740-7DC1B59991AD}"/>
          </ac:spMkLst>
        </pc:spChg>
        <pc:spChg chg="mod ord">
          <ac:chgData name="Minh-Kha Nguyen" userId="73ea909082ace275" providerId="LiveId" clId="{B1554112-6404-403C-A743-7FE3323E2177}" dt="2020-04-04T22:04:12.368" v="11034"/>
          <ac:spMkLst>
            <pc:docMk/>
            <pc:sldMk cId="2493492877" sldId="355"/>
            <ac:spMk id="8" creationId="{CCE6CBF3-DE61-4DDF-94B4-4B6B7D9577E7}"/>
          </ac:spMkLst>
        </pc:spChg>
        <pc:spChg chg="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10" creationId="{8171DBA0-8C16-4BB6-813F-2F671931D784}"/>
          </ac:spMkLst>
        </pc:spChg>
        <pc:spChg chg="add mod">
          <ac:chgData name="Minh-Kha Nguyen" userId="73ea909082ace275" providerId="LiveId" clId="{B1554112-6404-403C-A743-7FE3323E2177}" dt="2020-04-05T11:30:52.719" v="14331" actId="1036"/>
          <ac:spMkLst>
            <pc:docMk/>
            <pc:sldMk cId="2493492877" sldId="355"/>
            <ac:spMk id="11" creationId="{70973733-F97A-4E3B-8238-44B9DB08E719}"/>
          </ac:spMkLst>
        </pc:spChg>
        <pc:spChg chg="mod ord">
          <ac:chgData name="Minh-Kha Nguyen" userId="73ea909082ace275" providerId="LiveId" clId="{B1554112-6404-403C-A743-7FE3323E2177}" dt="2020-04-05T11:16:40.442" v="13111" actId="20577"/>
          <ac:spMkLst>
            <pc:docMk/>
            <pc:sldMk cId="2493492877" sldId="355"/>
            <ac:spMk id="13" creationId="{B1EAEC94-D35A-41FB-A756-CDF70C92D673}"/>
          </ac:spMkLst>
        </pc:spChg>
        <pc:spChg chg="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35" creationId="{792EDF0B-DA2C-4D6A-80F5-A810A430FF34}"/>
          </ac:spMkLst>
        </pc:spChg>
        <pc:spChg chg="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36" creationId="{8897AD99-6F25-4532-9A05-E3196B105B29}"/>
          </ac:spMkLst>
        </pc:spChg>
        <pc:spChg chg="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37" creationId="{88AD8032-1E69-46FC-8BE8-6ABA31E26308}"/>
          </ac:spMkLst>
        </pc:spChg>
        <pc:spChg chg="del mod ord">
          <ac:chgData name="Minh-Kha Nguyen" userId="73ea909082ace275" providerId="LiveId" clId="{B1554112-6404-403C-A743-7FE3323E2177}" dt="2020-04-04T22:04:31.001" v="11077" actId="478"/>
          <ac:spMkLst>
            <pc:docMk/>
            <pc:sldMk cId="2493492877" sldId="355"/>
            <ac:spMk id="38" creationId="{480359F7-BC9F-4DDB-B848-41042BE92F07}"/>
          </ac:spMkLst>
        </pc:spChg>
        <pc:spChg chg="del mod ord">
          <ac:chgData name="Minh-Kha Nguyen" userId="73ea909082ace275" providerId="LiveId" clId="{B1554112-6404-403C-A743-7FE3323E2177}" dt="2020-04-04T22:04:31.001" v="11077" actId="478"/>
          <ac:spMkLst>
            <pc:docMk/>
            <pc:sldMk cId="2493492877" sldId="355"/>
            <ac:spMk id="39" creationId="{224D8462-E554-46A2-9724-16BC0BD772FF}"/>
          </ac:spMkLst>
        </pc:spChg>
        <pc:spChg chg="del mod ord">
          <ac:chgData name="Minh-Kha Nguyen" userId="73ea909082ace275" providerId="LiveId" clId="{B1554112-6404-403C-A743-7FE3323E2177}" dt="2020-04-04T22:04:31.001" v="11077" actId="478"/>
          <ac:spMkLst>
            <pc:docMk/>
            <pc:sldMk cId="2493492877" sldId="355"/>
            <ac:spMk id="40" creationId="{45AE1ACE-821A-46A7-AD21-8BA7B9DB975F}"/>
          </ac:spMkLst>
        </pc:spChg>
        <pc:spChg chg="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41" creationId="{F2AEE3EB-9239-4181-BAA7-D6CABF0298AE}"/>
          </ac:spMkLst>
        </pc:spChg>
        <pc:spChg chg="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42" creationId="{372258B4-3D6A-42E2-9494-6D8B7C60C237}"/>
          </ac:spMkLst>
        </pc:spChg>
        <pc:spChg chg="add 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46" creationId="{883F8EF8-527E-4252-A29C-DCCF7B371BB2}"/>
          </ac:spMkLst>
        </pc:spChg>
        <pc:spChg chg="add 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47" creationId="{F7A9C9CA-0EB4-466F-B3DA-D4BE03485E81}"/>
          </ac:spMkLst>
        </pc:spChg>
        <pc:spChg chg="add del mod ord">
          <ac:chgData name="Minh-Kha Nguyen" userId="73ea909082ace275" providerId="LiveId" clId="{B1554112-6404-403C-A743-7FE3323E2177}" dt="2020-04-05T11:15:19.721" v="13073" actId="478"/>
          <ac:spMkLst>
            <pc:docMk/>
            <pc:sldMk cId="2493492877" sldId="355"/>
            <ac:spMk id="48" creationId="{2BF97255-485D-430D-892A-C14D551769A5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50" creationId="{9B1B4138-E934-4F0D-B221-E9019EC2BA76}"/>
          </ac:spMkLst>
        </pc:spChg>
        <pc:spChg chg="mod">
          <ac:chgData name="Minh-Kha Nguyen" userId="73ea909082ace275" providerId="LiveId" clId="{B1554112-6404-403C-A743-7FE3323E2177}" dt="2020-04-05T11:18:40.470" v="13434" actId="299"/>
          <ac:spMkLst>
            <pc:docMk/>
            <pc:sldMk cId="2493492877" sldId="355"/>
            <ac:spMk id="52" creationId="{B58E3C91-339F-4A26-A5D7-94B7F6482668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60" creationId="{4FA6F008-600E-4793-BD97-CB8C68C169F9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62" creationId="{C5199125-FC69-4E1D-A889-8B2A16C5EA5B}"/>
          </ac:spMkLst>
        </pc:spChg>
        <pc:spChg chg="mod">
          <ac:chgData name="Minh-Kha Nguyen" userId="73ea909082ace275" providerId="LiveId" clId="{B1554112-6404-403C-A743-7FE3323E2177}" dt="2020-04-05T11:18:40.504" v="13450" actId="299"/>
          <ac:spMkLst>
            <pc:docMk/>
            <pc:sldMk cId="2493492877" sldId="355"/>
            <ac:spMk id="65" creationId="{D257B904-78C6-47AF-A182-0CCE57884E1E}"/>
          </ac:spMkLst>
        </pc:spChg>
        <pc:spChg chg="mod">
          <ac:chgData name="Minh-Kha Nguyen" userId="73ea909082ace275" providerId="LiveId" clId="{B1554112-6404-403C-A743-7FE3323E2177}" dt="2020-04-05T11:18:40.508" v="13454" actId="299"/>
          <ac:spMkLst>
            <pc:docMk/>
            <pc:sldMk cId="2493492877" sldId="355"/>
            <ac:spMk id="66" creationId="{C1B396BA-FE73-499E-BBA5-2377F5CF2903}"/>
          </ac:spMkLst>
        </pc:spChg>
        <pc:spChg chg="mod">
          <ac:chgData name="Minh-Kha Nguyen" userId="73ea909082ace275" providerId="LiveId" clId="{B1554112-6404-403C-A743-7FE3323E2177}" dt="2020-04-05T11:18:40.528" v="13467" actId="299"/>
          <ac:spMkLst>
            <pc:docMk/>
            <pc:sldMk cId="2493492877" sldId="355"/>
            <ac:spMk id="73" creationId="{C363A510-4A36-480C-8301-37BEA0273035}"/>
          </ac:spMkLst>
        </pc:spChg>
        <pc:spChg chg="mod">
          <ac:chgData name="Minh-Kha Nguyen" userId="73ea909082ace275" providerId="LiveId" clId="{B1554112-6404-403C-A743-7FE3323E2177}" dt="2020-04-05T11:18:40.519" v="13458" actId="299"/>
          <ac:spMkLst>
            <pc:docMk/>
            <pc:sldMk cId="2493492877" sldId="355"/>
            <ac:spMk id="74" creationId="{617A37A5-5EE4-4DED-922A-724A58BA1D7F}"/>
          </ac:spMkLst>
        </pc:spChg>
        <pc:spChg chg="mod">
          <ac:chgData name="Minh-Kha Nguyen" userId="73ea909082ace275" providerId="LiveId" clId="{B1554112-6404-403C-A743-7FE3323E2177}" dt="2020-04-05T11:18:40.522" v="13462" actId="299"/>
          <ac:spMkLst>
            <pc:docMk/>
            <pc:sldMk cId="2493492877" sldId="355"/>
            <ac:spMk id="75" creationId="{C51E6CC5-115A-42ED-8C9D-7FF5E25FCCC8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76" creationId="{B51252C9-AAAD-40AD-9343-4BEB79261CC0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77" creationId="{DBE83A10-2A28-4DC4-98E6-5DA2098B51C9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78" creationId="{F0D868F3-8A52-46C3-9BD8-BCB874AE627F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79" creationId="{95B47CAB-7B67-4F8B-8700-560F863ADDDB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80" creationId="{BD6EC4D3-4065-4AA4-980A-B0EC6B1E694E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81" creationId="{114C3018-18FF-4D6B-BE95-9D6A6800DDCD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82" creationId="{01BC3477-E801-4A74-8056-56FA7F469AA7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83" creationId="{525ECD3E-3505-4CD2-A69C-EC63B20BD733}"/>
          </ac:spMkLst>
        </pc:spChg>
        <pc:spChg chg="add del mod">
          <ac:chgData name="Minh-Kha Nguyen" userId="73ea909082ace275" providerId="LiveId" clId="{B1554112-6404-403C-A743-7FE3323E2177}" dt="2020-04-05T11:18:24.040" v="13114" actId="478"/>
          <ac:spMkLst>
            <pc:docMk/>
            <pc:sldMk cId="2493492877" sldId="355"/>
            <ac:spMk id="84" creationId="{9F8169E9-C291-48FF-866E-ED8E00509F64}"/>
          </ac:spMkLst>
        </pc:spChg>
        <pc:spChg chg="add del mod">
          <ac:chgData name="Minh-Kha Nguyen" userId="73ea909082ace275" providerId="LiveId" clId="{B1554112-6404-403C-A743-7FE3323E2177}" dt="2020-04-05T11:18:24.040" v="13114" actId="478"/>
          <ac:spMkLst>
            <pc:docMk/>
            <pc:sldMk cId="2493492877" sldId="355"/>
            <ac:spMk id="85" creationId="{3FE2BD84-7C4E-4333-B705-E1619E0837C4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88" creationId="{8ADDF33F-DFDE-470F-92B0-D5062EBEF79F}"/>
          </ac:spMkLst>
        </pc:spChg>
        <pc:spChg chg="add del mod">
          <ac:chgData name="Minh-Kha Nguyen" userId="73ea909082ace275" providerId="LiveId" clId="{B1554112-6404-403C-A743-7FE3323E2177}" dt="2020-04-05T11:18:24.040" v="13114" actId="478"/>
          <ac:spMkLst>
            <pc:docMk/>
            <pc:sldMk cId="2493492877" sldId="355"/>
            <ac:spMk id="89" creationId="{1402026A-1770-4895-B06A-C9046476A725}"/>
          </ac:spMkLst>
        </pc:spChg>
        <pc:spChg chg="add del mod">
          <ac:chgData name="Minh-Kha Nguyen" userId="73ea909082ace275" providerId="LiveId" clId="{B1554112-6404-403C-A743-7FE3323E2177}" dt="2020-04-05T11:18:24.040" v="13114" actId="478"/>
          <ac:spMkLst>
            <pc:docMk/>
            <pc:sldMk cId="2493492877" sldId="355"/>
            <ac:spMk id="90" creationId="{330851E8-2389-4B81-B4C7-680B468FD405}"/>
          </ac:spMkLst>
        </pc:spChg>
        <pc:spChg chg="add del mod topLvl">
          <ac:chgData name="Minh-Kha Nguyen" userId="73ea909082ace275" providerId="LiveId" clId="{B1554112-6404-403C-A743-7FE3323E2177}" dt="2020-04-05T11:19:13.131" v="13544" actId="478"/>
          <ac:spMkLst>
            <pc:docMk/>
            <pc:sldMk cId="2493492877" sldId="355"/>
            <ac:spMk id="93" creationId="{594E36DD-1077-4648-B37C-9664FF603457}"/>
          </ac:spMkLst>
        </pc:spChg>
        <pc:spChg chg="add del mod">
          <ac:chgData name="Minh-Kha Nguyen" userId="73ea909082ace275" providerId="LiveId" clId="{B1554112-6404-403C-A743-7FE3323E2177}" dt="2020-04-05T11:18:24.040" v="13114" actId="478"/>
          <ac:spMkLst>
            <pc:docMk/>
            <pc:sldMk cId="2493492877" sldId="355"/>
            <ac:spMk id="94" creationId="{42EEAAB0-4621-4229-BCF5-0DAB91501932}"/>
          </ac:spMkLst>
        </pc:spChg>
        <pc:spChg chg="add del mod">
          <ac:chgData name="Minh-Kha Nguyen" userId="73ea909082ace275" providerId="LiveId" clId="{B1554112-6404-403C-A743-7FE3323E2177}" dt="2020-04-05T11:18:24.040" v="13114" actId="478"/>
          <ac:spMkLst>
            <pc:docMk/>
            <pc:sldMk cId="2493492877" sldId="355"/>
            <ac:spMk id="95" creationId="{55CE80C6-E436-4D12-B7BA-1DE2822A7C79}"/>
          </ac:spMkLst>
        </pc:spChg>
        <pc:spChg chg="add mod">
          <ac:chgData name="Minh-Kha Nguyen" userId="73ea909082ace275" providerId="LiveId" clId="{B1554112-6404-403C-A743-7FE3323E2177}" dt="2020-04-05T11:30:52.719" v="14331" actId="1036"/>
          <ac:spMkLst>
            <pc:docMk/>
            <pc:sldMk cId="2493492877" sldId="355"/>
            <ac:spMk id="96" creationId="{D12AFF8B-FF6E-49BF-B8C8-521AD49D37CB}"/>
          </ac:spMkLst>
        </pc:spChg>
        <pc:spChg chg="add mod">
          <ac:chgData name="Minh-Kha Nguyen" userId="73ea909082ace275" providerId="LiveId" clId="{B1554112-6404-403C-A743-7FE3323E2177}" dt="2020-04-05T11:30:52.719" v="14331" actId="1036"/>
          <ac:spMkLst>
            <pc:docMk/>
            <pc:sldMk cId="2493492877" sldId="355"/>
            <ac:spMk id="98" creationId="{42AFD063-A6EA-4FAE-B9B8-D3E81F3422DC}"/>
          </ac:spMkLst>
        </pc:spChg>
        <pc:spChg chg="add mod">
          <ac:chgData name="Minh-Kha Nguyen" userId="73ea909082ace275" providerId="LiveId" clId="{B1554112-6404-403C-A743-7FE3323E2177}" dt="2020-04-05T11:30:52.719" v="14331" actId="1036"/>
          <ac:spMkLst>
            <pc:docMk/>
            <pc:sldMk cId="2493492877" sldId="355"/>
            <ac:spMk id="99" creationId="{A0BF3413-04A2-4581-AF1B-DE57B181DDB2}"/>
          </ac:spMkLst>
        </pc:spChg>
        <pc:spChg chg="add mod">
          <ac:chgData name="Minh-Kha Nguyen" userId="73ea909082ace275" providerId="LiveId" clId="{B1554112-6404-403C-A743-7FE3323E2177}" dt="2020-04-05T11:30:52.719" v="14331" actId="1036"/>
          <ac:spMkLst>
            <pc:docMk/>
            <pc:sldMk cId="2493492877" sldId="355"/>
            <ac:spMk id="100" creationId="{61ED7B2F-E267-4D8A-A360-8A99A734E74F}"/>
          </ac:spMkLst>
        </pc:spChg>
        <pc:spChg chg="add mod">
          <ac:chgData name="Minh-Kha Nguyen" userId="73ea909082ace275" providerId="LiveId" clId="{B1554112-6404-403C-A743-7FE3323E2177}" dt="2020-04-05T11:30:52.719" v="14331" actId="1036"/>
          <ac:spMkLst>
            <pc:docMk/>
            <pc:sldMk cId="2493492877" sldId="355"/>
            <ac:spMk id="107" creationId="{E7FD408E-1AC0-4925-99FC-21576FE39FE0}"/>
          </ac:spMkLst>
        </pc:spChg>
        <pc:spChg chg="add mod">
          <ac:chgData name="Minh-Kha Nguyen" userId="73ea909082ace275" providerId="LiveId" clId="{B1554112-6404-403C-A743-7FE3323E2177}" dt="2020-04-05T11:38:57.967" v="14547" actId="20577"/>
          <ac:spMkLst>
            <pc:docMk/>
            <pc:sldMk cId="2493492877" sldId="355"/>
            <ac:spMk id="108" creationId="{93358396-B099-4283-AD87-56328A8A9C1B}"/>
          </ac:spMkLst>
        </pc:spChg>
        <pc:spChg chg="add mod">
          <ac:chgData name="Minh-Kha Nguyen" userId="73ea909082ace275" providerId="LiveId" clId="{B1554112-6404-403C-A743-7FE3323E2177}" dt="2020-04-05T11:37:03.148" v="14433" actId="20577"/>
          <ac:spMkLst>
            <pc:docMk/>
            <pc:sldMk cId="2493492877" sldId="355"/>
            <ac:spMk id="109" creationId="{DE6B5F84-F5B0-49B5-9360-54021D0D2375}"/>
          </ac:spMkLst>
        </pc:spChg>
        <pc:spChg chg="add mod">
          <ac:chgData name="Minh-Kha Nguyen" userId="73ea909082ace275" providerId="LiveId" clId="{B1554112-6404-403C-A743-7FE3323E2177}" dt="2020-04-05T11:30:52.719" v="14331" actId="1036"/>
          <ac:spMkLst>
            <pc:docMk/>
            <pc:sldMk cId="2493492877" sldId="355"/>
            <ac:spMk id="110" creationId="{44AC08F4-E0E5-4C3F-81AD-B3BA2E09E090}"/>
          </ac:spMkLst>
        </pc:spChg>
        <pc:spChg chg="add mod">
          <ac:chgData name="Minh-Kha Nguyen" userId="73ea909082ace275" providerId="LiveId" clId="{B1554112-6404-403C-A743-7FE3323E2177}" dt="2020-04-05T11:39:35.297" v="14619" actId="20577"/>
          <ac:spMkLst>
            <pc:docMk/>
            <pc:sldMk cId="2493492877" sldId="355"/>
            <ac:spMk id="113" creationId="{3148CFBC-9028-491E-970F-F7B2CE9B4F12}"/>
          </ac:spMkLst>
        </pc:spChg>
        <pc:grpChg chg="add del mod">
          <ac:chgData name="Minh-Kha Nguyen" userId="73ea909082ace275" providerId="LiveId" clId="{B1554112-6404-403C-A743-7FE3323E2177}" dt="2020-04-05T11:18:53.603" v="13539" actId="165"/>
          <ac:grpSpMkLst>
            <pc:docMk/>
            <pc:sldMk cId="2493492877" sldId="355"/>
            <ac:grpSpMk id="2" creationId="{B45375DA-DD0E-4B34-8A80-2A1B6C154AA5}"/>
          </ac:grpSpMkLst>
        </pc:grpChg>
        <pc:grpChg chg="del mod ord">
          <ac:chgData name="Minh-Kha Nguyen" userId="73ea909082ace275" providerId="LiveId" clId="{B1554112-6404-403C-A743-7FE3323E2177}" dt="2020-04-05T11:15:19.721" v="13073" actId="478"/>
          <ac:grpSpMkLst>
            <pc:docMk/>
            <pc:sldMk cId="2493492877" sldId="355"/>
            <ac:grpSpMk id="9" creationId="{04112B6C-48EC-4CE8-830B-1A8769077126}"/>
          </ac:grpSpMkLst>
        </pc:grpChg>
        <pc:grpChg chg="add del mod topLvl">
          <ac:chgData name="Minh-Kha Nguyen" userId="73ea909082ace275" providerId="LiveId" clId="{B1554112-6404-403C-A743-7FE3323E2177}" dt="2020-04-05T11:19:13.131" v="13544" actId="478"/>
          <ac:grpSpMkLst>
            <pc:docMk/>
            <pc:sldMk cId="2493492877" sldId="355"/>
            <ac:grpSpMk id="51" creationId="{5C257F20-3C84-4206-8DD2-6E6FD71BA319}"/>
          </ac:grpSpMkLst>
        </pc:grpChg>
        <pc:grpChg chg="mod">
          <ac:chgData name="Minh-Kha Nguyen" userId="73ea909082ace275" providerId="LiveId" clId="{B1554112-6404-403C-A743-7FE3323E2177}" dt="2020-04-05T11:18:46.054" v="13538" actId="1076"/>
          <ac:grpSpMkLst>
            <pc:docMk/>
            <pc:sldMk cId="2493492877" sldId="355"/>
            <ac:grpSpMk id="53" creationId="{AC5B97CA-E510-4C23-970E-5D325E5FC949}"/>
          </ac:grpSpMkLst>
        </pc:grpChg>
        <pc:grpChg chg="add del mod topLvl">
          <ac:chgData name="Minh-Kha Nguyen" userId="73ea909082ace275" providerId="LiveId" clId="{B1554112-6404-403C-A743-7FE3323E2177}" dt="2020-04-05T11:19:13.131" v="13544" actId="478"/>
          <ac:grpSpMkLst>
            <pc:docMk/>
            <pc:sldMk cId="2493492877" sldId="355"/>
            <ac:grpSpMk id="63" creationId="{8572EF5E-36AD-4CDB-BD25-7551C4033DE1}"/>
          </ac:grpSpMkLst>
        </pc:grpChg>
        <pc:grpChg chg="add del mod topLvl">
          <ac:chgData name="Minh-Kha Nguyen" userId="73ea909082ace275" providerId="LiveId" clId="{B1554112-6404-403C-A743-7FE3323E2177}" dt="2020-04-05T11:19:13.131" v="13544" actId="478"/>
          <ac:grpSpMkLst>
            <pc:docMk/>
            <pc:sldMk cId="2493492877" sldId="355"/>
            <ac:grpSpMk id="67" creationId="{87604062-19F3-4766-B6CA-D1CA78282E16}"/>
          </ac:grpSpMkLst>
        </pc:grpChg>
        <pc:grpChg chg="add del mod topLvl">
          <ac:chgData name="Minh-Kha Nguyen" userId="73ea909082ace275" providerId="LiveId" clId="{B1554112-6404-403C-A743-7FE3323E2177}" dt="2020-04-05T11:19:13.131" v="13544" actId="478"/>
          <ac:grpSpMkLst>
            <pc:docMk/>
            <pc:sldMk cId="2493492877" sldId="355"/>
            <ac:grpSpMk id="71" creationId="{2F83FEAE-E23A-4CB2-8837-033393CBA588}"/>
          </ac:grpSpMkLst>
        </pc:grpChg>
        <pc:grpChg chg="mod">
          <ac:chgData name="Minh-Kha Nguyen" userId="73ea909082ace275" providerId="LiveId" clId="{B1554112-6404-403C-A743-7FE3323E2177}" dt="2020-04-05T11:18:46.054" v="13538" actId="1076"/>
          <ac:grpSpMkLst>
            <pc:docMk/>
            <pc:sldMk cId="2493492877" sldId="355"/>
            <ac:grpSpMk id="72" creationId="{C83F03FC-EC56-482F-A0EA-5BE5EBBA71E1}"/>
          </ac:grpSpMkLst>
        </pc:grpChg>
        <pc:graphicFrameChg chg="mod ord">
          <ac:chgData name="Minh-Kha Nguyen" userId="73ea909082ace275" providerId="LiveId" clId="{B1554112-6404-403C-A743-7FE3323E2177}" dt="2020-04-04T22:04:12.386" v="11072"/>
          <ac:graphicFrameMkLst>
            <pc:docMk/>
            <pc:sldMk cId="2493492877" sldId="355"/>
            <ac:graphicFrameMk id="4" creationId="{0335BD31-9BEB-4951-908E-6DF29B0B511F}"/>
          </ac:graphicFrameMkLst>
        </pc:graphicFrameChg>
        <pc:picChg chg="del mod ord">
          <ac:chgData name="Minh-Kha Nguyen" userId="73ea909082ace275" providerId="LiveId" clId="{B1554112-6404-403C-A743-7FE3323E2177}" dt="2020-04-05T11:15:19.721" v="13073" actId="478"/>
          <ac:picMkLst>
            <pc:docMk/>
            <pc:sldMk cId="2493492877" sldId="355"/>
            <ac:picMk id="6" creationId="{182F4DCE-3821-4CD2-9A16-8FB1B79D4BB7}"/>
          </ac:picMkLst>
        </pc:picChg>
        <pc:picChg chg="mod ord">
          <ac:chgData name="Minh-Kha Nguyen" userId="73ea909082ace275" providerId="LiveId" clId="{B1554112-6404-403C-A743-7FE3323E2177}" dt="2020-04-04T22:04:12.367" v="11032"/>
          <ac:picMkLst>
            <pc:docMk/>
            <pc:sldMk cId="2493492877" sldId="355"/>
            <ac:picMk id="7" creationId="{FC6A73B6-536F-408E-810E-4BE805091326}"/>
          </ac:picMkLst>
        </pc:picChg>
        <pc:picChg chg="del mod ord">
          <ac:chgData name="Minh-Kha Nguyen" userId="73ea909082ace275" providerId="LiveId" clId="{B1554112-6404-403C-A743-7FE3323E2177}" dt="2020-04-05T11:15:19.721" v="13073" actId="478"/>
          <ac:picMkLst>
            <pc:docMk/>
            <pc:sldMk cId="2493492877" sldId="355"/>
            <ac:picMk id="14" creationId="{85B69889-22D9-45CE-9A21-C9E63A6FB8B8}"/>
          </ac:picMkLst>
        </pc:picChg>
        <pc:picChg chg="del mod ord">
          <ac:chgData name="Minh-Kha Nguyen" userId="73ea909082ace275" providerId="LiveId" clId="{B1554112-6404-403C-A743-7FE3323E2177}" dt="2020-04-05T11:15:19.721" v="13073" actId="478"/>
          <ac:picMkLst>
            <pc:docMk/>
            <pc:sldMk cId="2493492877" sldId="355"/>
            <ac:picMk id="15" creationId="{1714299B-29CA-4C20-A11D-8778418BC738}"/>
          </ac:picMkLst>
        </pc:picChg>
        <pc:picChg chg="del mod ord">
          <ac:chgData name="Minh-Kha Nguyen" userId="73ea909082ace275" providerId="LiveId" clId="{B1554112-6404-403C-A743-7FE3323E2177}" dt="2020-04-05T11:15:19.721" v="13073" actId="478"/>
          <ac:picMkLst>
            <pc:docMk/>
            <pc:sldMk cId="2493492877" sldId="355"/>
            <ac:picMk id="16" creationId="{86062315-277C-45FB-98CB-CBB49CF6A823}"/>
          </ac:picMkLst>
        </pc:picChg>
        <pc:picChg chg="del mod ord">
          <ac:chgData name="Minh-Kha Nguyen" userId="73ea909082ace275" providerId="LiveId" clId="{B1554112-6404-403C-A743-7FE3323E2177}" dt="2020-04-05T11:15:19.721" v="13073" actId="478"/>
          <ac:picMkLst>
            <pc:docMk/>
            <pc:sldMk cId="2493492877" sldId="355"/>
            <ac:picMk id="17" creationId="{3A318AB7-2127-483F-A9F2-5055DDC45485}"/>
          </ac:picMkLst>
        </pc:picChg>
        <pc:cxnChg chg="mod ord">
          <ac:chgData name="Minh-Kha Nguyen" userId="73ea909082ace275" providerId="LiveId" clId="{B1554112-6404-403C-A743-7FE3323E2177}" dt="2020-04-04T22:04:12.369" v="11036"/>
          <ac:cxnSpMkLst>
            <pc:docMk/>
            <pc:sldMk cId="2493492877" sldId="355"/>
            <ac:cxnSpMk id="5" creationId="{CEA37EED-B076-4C69-81A2-9796745377A6}"/>
          </ac:cxnSpMkLst>
        </pc:cxnChg>
        <pc:cxnChg chg="add del mod topLvl">
          <ac:chgData name="Minh-Kha Nguyen" userId="73ea909082ace275" providerId="LiveId" clId="{B1554112-6404-403C-A743-7FE3323E2177}" dt="2020-04-05T11:19:13.131" v="13544" actId="478"/>
          <ac:cxnSpMkLst>
            <pc:docMk/>
            <pc:sldMk cId="2493492877" sldId="355"/>
            <ac:cxnSpMk id="38" creationId="{D86BAD92-2B4C-40FA-AD60-981CD2FB13FF}"/>
          </ac:cxnSpMkLst>
        </pc:cxnChg>
        <pc:cxnChg chg="add del mod topLvl">
          <ac:chgData name="Minh-Kha Nguyen" userId="73ea909082ace275" providerId="LiveId" clId="{B1554112-6404-403C-A743-7FE3323E2177}" dt="2020-04-05T11:19:13.131" v="13544" actId="478"/>
          <ac:cxnSpMkLst>
            <pc:docMk/>
            <pc:sldMk cId="2493492877" sldId="355"/>
            <ac:cxnSpMk id="39" creationId="{D41DD6F8-51B1-42BD-B8BE-1BF7C84D6E19}"/>
          </ac:cxnSpMkLst>
        </pc:cxnChg>
        <pc:cxnChg chg="add del mod">
          <ac:chgData name="Minh-Kha Nguyen" userId="73ea909082ace275" providerId="LiveId" clId="{B1554112-6404-403C-A743-7FE3323E2177}" dt="2020-04-05T11:18:24.040" v="13114" actId="478"/>
          <ac:cxnSpMkLst>
            <pc:docMk/>
            <pc:sldMk cId="2493492877" sldId="355"/>
            <ac:cxnSpMk id="40" creationId="{9E16EF27-7C59-4764-BF0A-AD40A84BBD81}"/>
          </ac:cxnSpMkLst>
        </pc:cxnChg>
        <pc:cxnChg chg="del mod ord">
          <ac:chgData name="Minh-Kha Nguyen" userId="73ea909082ace275" providerId="LiveId" clId="{B1554112-6404-403C-A743-7FE3323E2177}" dt="2020-04-05T11:15:19.721" v="13073" actId="478"/>
          <ac:cxnSpMkLst>
            <pc:docMk/>
            <pc:sldMk cId="2493492877" sldId="355"/>
            <ac:cxnSpMk id="43" creationId="{7167C45E-8A5B-4FA0-B8F3-C3AE8255E2CD}"/>
          </ac:cxnSpMkLst>
        </pc:cxnChg>
        <pc:cxnChg chg="del mod ord">
          <ac:chgData name="Minh-Kha Nguyen" userId="73ea909082ace275" providerId="LiveId" clId="{B1554112-6404-403C-A743-7FE3323E2177}" dt="2020-04-05T11:15:19.721" v="13073" actId="478"/>
          <ac:cxnSpMkLst>
            <pc:docMk/>
            <pc:sldMk cId="2493492877" sldId="355"/>
            <ac:cxnSpMk id="44" creationId="{7FAE3F6B-00B5-4681-BE15-8930948ED209}"/>
          </ac:cxnSpMkLst>
        </pc:cxnChg>
        <pc:cxnChg chg="del mod ord">
          <ac:chgData name="Minh-Kha Nguyen" userId="73ea909082ace275" providerId="LiveId" clId="{B1554112-6404-403C-A743-7FE3323E2177}" dt="2020-04-05T11:15:19.721" v="13073" actId="478"/>
          <ac:cxnSpMkLst>
            <pc:docMk/>
            <pc:sldMk cId="2493492877" sldId="355"/>
            <ac:cxnSpMk id="45" creationId="{33E2754E-1D10-48E0-8F28-6D92D11B3523}"/>
          </ac:cxnSpMkLst>
        </pc:cxnChg>
        <pc:cxnChg chg="add del mod">
          <ac:chgData name="Minh-Kha Nguyen" userId="73ea909082ace275" providerId="LiveId" clId="{B1554112-6404-403C-A743-7FE3323E2177}" dt="2020-04-05T11:18:24.040" v="13114" actId="478"/>
          <ac:cxnSpMkLst>
            <pc:docMk/>
            <pc:sldMk cId="2493492877" sldId="355"/>
            <ac:cxnSpMk id="49" creationId="{947C9D35-FA76-4C49-A650-D73884922FA4}"/>
          </ac:cxnSpMkLst>
        </pc:cxnChg>
        <pc:cxnChg chg="add del mod topLvl">
          <ac:chgData name="Minh-Kha Nguyen" userId="73ea909082ace275" providerId="LiveId" clId="{B1554112-6404-403C-A743-7FE3323E2177}" dt="2020-04-05T11:19:13.131" v="13544" actId="478"/>
          <ac:cxnSpMkLst>
            <pc:docMk/>
            <pc:sldMk cId="2493492877" sldId="355"/>
            <ac:cxnSpMk id="59" creationId="{E4DA10B3-DBB2-42EC-ACEF-36D0687CBCF4}"/>
          </ac:cxnSpMkLst>
        </pc:cxnChg>
        <pc:cxnChg chg="add del mod topLvl">
          <ac:chgData name="Minh-Kha Nguyen" userId="73ea909082ace275" providerId="LiveId" clId="{B1554112-6404-403C-A743-7FE3323E2177}" dt="2020-04-05T11:19:13.131" v="13544" actId="478"/>
          <ac:cxnSpMkLst>
            <pc:docMk/>
            <pc:sldMk cId="2493492877" sldId="355"/>
            <ac:cxnSpMk id="61" creationId="{A8925C23-3EF8-4F38-9566-5430BCE6259F}"/>
          </ac:cxnSpMkLst>
        </pc:cxnChg>
        <pc:cxnChg chg="add del mod">
          <ac:chgData name="Minh-Kha Nguyen" userId="73ea909082ace275" providerId="LiveId" clId="{B1554112-6404-403C-A743-7FE3323E2177}" dt="2020-04-05T11:18:24.040" v="13114" actId="478"/>
          <ac:cxnSpMkLst>
            <pc:docMk/>
            <pc:sldMk cId="2493492877" sldId="355"/>
            <ac:cxnSpMk id="86" creationId="{F0149E1A-B22D-4D8F-9913-374610E1FB9A}"/>
          </ac:cxnSpMkLst>
        </pc:cxnChg>
        <pc:cxnChg chg="add del mod">
          <ac:chgData name="Minh-Kha Nguyen" userId="73ea909082ace275" providerId="LiveId" clId="{B1554112-6404-403C-A743-7FE3323E2177}" dt="2020-04-05T11:18:24.040" v="13114" actId="478"/>
          <ac:cxnSpMkLst>
            <pc:docMk/>
            <pc:sldMk cId="2493492877" sldId="355"/>
            <ac:cxnSpMk id="87" creationId="{4ADCCE13-47D7-4918-9608-CDCCDF0B6DE4}"/>
          </ac:cxnSpMkLst>
        </pc:cxnChg>
        <pc:cxnChg chg="add del mod">
          <ac:chgData name="Minh-Kha Nguyen" userId="73ea909082ace275" providerId="LiveId" clId="{B1554112-6404-403C-A743-7FE3323E2177}" dt="2020-04-05T11:18:24.040" v="13114" actId="478"/>
          <ac:cxnSpMkLst>
            <pc:docMk/>
            <pc:sldMk cId="2493492877" sldId="355"/>
            <ac:cxnSpMk id="91" creationId="{CA6F9A90-114D-4A7A-A370-8481380E9A7A}"/>
          </ac:cxnSpMkLst>
        </pc:cxnChg>
        <pc:cxnChg chg="add del mod">
          <ac:chgData name="Minh-Kha Nguyen" userId="73ea909082ace275" providerId="LiveId" clId="{B1554112-6404-403C-A743-7FE3323E2177}" dt="2020-04-05T11:18:24.040" v="13114" actId="478"/>
          <ac:cxnSpMkLst>
            <pc:docMk/>
            <pc:sldMk cId="2493492877" sldId="355"/>
            <ac:cxnSpMk id="92" creationId="{058B698C-2720-42CE-9F5B-128FDD7215BC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97" creationId="{F16D9A3F-F6B1-46FF-83BB-74BBF00EA7BA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101" creationId="{6CE60D0A-1370-4576-93A2-6857AEE779A5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102" creationId="{F48387D8-F48F-4F95-BF70-D5CCC9895C08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103" creationId="{042ABF8B-0BEC-49C3-9EDC-8482B6C5FE13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104" creationId="{170D4DA4-D909-4AAD-B2F5-C77EB627F6C3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105" creationId="{ACE68447-218D-4E18-8145-0FF24E451521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106" creationId="{6BD897CD-A248-49E8-8210-5633A649E1FE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111" creationId="{0AECB5D9-28DE-4C17-94FC-7B98211DE40E}"/>
          </ac:cxnSpMkLst>
        </pc:cxnChg>
        <pc:cxnChg chg="add mod">
          <ac:chgData name="Minh-Kha Nguyen" userId="73ea909082ace275" providerId="LiveId" clId="{B1554112-6404-403C-A743-7FE3323E2177}" dt="2020-04-05T11:30:52.719" v="14331" actId="1036"/>
          <ac:cxnSpMkLst>
            <pc:docMk/>
            <pc:sldMk cId="2493492877" sldId="355"/>
            <ac:cxnSpMk id="112" creationId="{61901B79-C6BA-4F4D-BDA7-A74EE574ADC0}"/>
          </ac:cxnSpMkLst>
        </pc:cxnChg>
      </pc:sldChg>
      <pc:sldChg chg="add del">
        <pc:chgData name="Minh-Kha Nguyen" userId="73ea909082ace275" providerId="LiveId" clId="{B1554112-6404-403C-A743-7FE3323E2177}" dt="2020-04-04T20:30:35.856" v="7931" actId="47"/>
        <pc:sldMkLst>
          <pc:docMk/>
          <pc:sldMk cId="3026030806" sldId="355"/>
        </pc:sldMkLst>
      </pc:sldChg>
      <pc:sldChg chg="add del">
        <pc:chgData name="Minh-Kha Nguyen" userId="73ea909082ace275" providerId="LiveId" clId="{B1554112-6404-403C-A743-7FE3323E2177}" dt="2020-04-04T21:04:35.457" v="8955"/>
        <pc:sldMkLst>
          <pc:docMk/>
          <pc:sldMk cId="3980296767" sldId="355"/>
        </pc:sldMkLst>
      </pc:sldChg>
      <pc:sldChg chg="addSp delSp modSp add del mod setBg">
        <pc:chgData name="Minh-Kha Nguyen" userId="73ea909082ace275" providerId="LiveId" clId="{B1554112-6404-403C-A743-7FE3323E2177}" dt="2020-04-05T09:35:31.853" v="12573" actId="47"/>
        <pc:sldMkLst>
          <pc:docMk/>
          <pc:sldMk cId="2594136029" sldId="356"/>
        </pc:sldMkLst>
        <pc:spChg chg="add mod">
          <ac:chgData name="Minh-Kha Nguyen" userId="73ea909082ace275" providerId="LiveId" clId="{B1554112-6404-403C-A743-7FE3323E2177}" dt="2020-04-05T09:35:14.913" v="12572" actId="207"/>
          <ac:spMkLst>
            <pc:docMk/>
            <pc:sldMk cId="2594136029" sldId="356"/>
            <ac:spMk id="2" creationId="{00273FC7-49B6-41D6-A322-51BEAF136A7F}"/>
          </ac:spMkLst>
        </pc:spChg>
        <pc:spChg chg="del">
          <ac:chgData name="Minh-Kha Nguyen" userId="73ea909082ace275" providerId="LiveId" clId="{B1554112-6404-403C-A743-7FE3323E2177}" dt="2020-04-05T09:34:02.131" v="12520" actId="478"/>
          <ac:spMkLst>
            <pc:docMk/>
            <pc:sldMk cId="2594136029" sldId="356"/>
            <ac:spMk id="3" creationId="{2CD8122E-8A66-4F65-9740-7DC1B59991AD}"/>
          </ac:spMkLst>
        </pc:spChg>
        <pc:spChg chg="del">
          <ac:chgData name="Minh-Kha Nguyen" userId="73ea909082ace275" providerId="LiveId" clId="{B1554112-6404-403C-A743-7FE3323E2177}" dt="2020-04-05T09:34:01.643" v="12519" actId="478"/>
          <ac:spMkLst>
            <pc:docMk/>
            <pc:sldMk cId="2594136029" sldId="356"/>
            <ac:spMk id="8" creationId="{CCE6CBF3-DE61-4DDF-94B4-4B6B7D9577E7}"/>
          </ac:spMkLst>
        </pc:spChg>
        <pc:spChg chg="add del">
          <ac:chgData name="Minh-Kha Nguyen" userId="73ea909082ace275" providerId="LiveId" clId="{B1554112-6404-403C-A743-7FE3323E2177}" dt="2020-04-05T09:31:50.562" v="12514" actId="478"/>
          <ac:spMkLst>
            <pc:docMk/>
            <pc:sldMk cId="2594136029" sldId="356"/>
            <ac:spMk id="28" creationId="{03F9DCF3-3F65-431B-BBD2-E619C259196F}"/>
          </ac:spMkLst>
        </pc:spChg>
        <pc:spChg chg="add">
          <ac:chgData name="Minh-Kha Nguyen" userId="73ea909082ace275" providerId="LiveId" clId="{B1554112-6404-403C-A743-7FE3323E2177}" dt="2020-04-05T09:34:07.415" v="12521"/>
          <ac:spMkLst>
            <pc:docMk/>
            <pc:sldMk cId="2594136029" sldId="356"/>
            <ac:spMk id="29" creationId="{4BDCC7CD-844F-4D53-9702-0BE91203B197}"/>
          </ac:spMkLst>
        </pc:spChg>
        <pc:picChg chg="del">
          <ac:chgData name="Minh-Kha Nguyen" userId="73ea909082ace275" providerId="LiveId" clId="{B1554112-6404-403C-A743-7FE3323E2177}" dt="2020-04-05T09:31:46.632" v="12512" actId="478"/>
          <ac:picMkLst>
            <pc:docMk/>
            <pc:sldMk cId="2594136029" sldId="356"/>
            <ac:picMk id="6" creationId="{182F4DCE-3821-4CD2-9A16-8FB1B79D4BB7}"/>
          </ac:picMkLst>
        </pc:picChg>
        <pc:picChg chg="del">
          <ac:chgData name="Minh-Kha Nguyen" userId="73ea909082ace275" providerId="LiveId" clId="{B1554112-6404-403C-A743-7FE3323E2177}" dt="2020-04-05T09:33:59.552" v="12518" actId="478"/>
          <ac:picMkLst>
            <pc:docMk/>
            <pc:sldMk cId="2594136029" sldId="356"/>
            <ac:picMk id="7" creationId="{FC6A73B6-536F-408E-810E-4BE805091326}"/>
          </ac:picMkLst>
        </pc:picChg>
        <pc:picChg chg="del">
          <ac:chgData name="Minh-Kha Nguyen" userId="73ea909082ace275" providerId="LiveId" clId="{B1554112-6404-403C-A743-7FE3323E2177}" dt="2020-04-05T09:34:58.583" v="12526" actId="478"/>
          <ac:picMkLst>
            <pc:docMk/>
            <pc:sldMk cId="2594136029" sldId="356"/>
            <ac:picMk id="23" creationId="{4E44B59B-3ED7-48E6-8158-CDB2807A237F}"/>
          </ac:picMkLst>
        </pc:picChg>
        <pc:picChg chg="del">
          <ac:chgData name="Minh-Kha Nguyen" userId="73ea909082ace275" providerId="LiveId" clId="{B1554112-6404-403C-A743-7FE3323E2177}" dt="2020-04-05T09:34:58.583" v="12526" actId="478"/>
          <ac:picMkLst>
            <pc:docMk/>
            <pc:sldMk cId="2594136029" sldId="356"/>
            <ac:picMk id="24" creationId="{6EFA993C-06AE-4570-B2CA-ECFFA2AC8750}"/>
          </ac:picMkLst>
        </pc:picChg>
        <pc:picChg chg="del">
          <ac:chgData name="Minh-Kha Nguyen" userId="73ea909082ace275" providerId="LiveId" clId="{B1554112-6404-403C-A743-7FE3323E2177}" dt="2020-04-05T09:34:58.583" v="12526" actId="478"/>
          <ac:picMkLst>
            <pc:docMk/>
            <pc:sldMk cId="2594136029" sldId="356"/>
            <ac:picMk id="25" creationId="{61F73522-FD9D-4105-A277-B0A69DAEA92F}"/>
          </ac:picMkLst>
        </pc:picChg>
        <pc:picChg chg="del">
          <ac:chgData name="Minh-Kha Nguyen" userId="73ea909082ace275" providerId="LiveId" clId="{B1554112-6404-403C-A743-7FE3323E2177}" dt="2020-04-05T09:34:58.583" v="12526" actId="478"/>
          <ac:picMkLst>
            <pc:docMk/>
            <pc:sldMk cId="2594136029" sldId="356"/>
            <ac:picMk id="26" creationId="{9399E373-0444-4898-B407-9C4FF664EEE6}"/>
          </ac:picMkLst>
        </pc:picChg>
        <pc:picChg chg="add">
          <ac:chgData name="Minh-Kha Nguyen" userId="73ea909082ace275" providerId="LiveId" clId="{B1554112-6404-403C-A743-7FE3323E2177}" dt="2020-04-05T09:31:46.881" v="12513"/>
          <ac:picMkLst>
            <pc:docMk/>
            <pc:sldMk cId="2594136029" sldId="356"/>
            <ac:picMk id="27" creationId="{45C37F07-6894-412E-BCD2-742DCA4DD1B0}"/>
          </ac:picMkLst>
        </pc:picChg>
      </pc:sldChg>
      <pc:sldChg chg="delSp modSp add mod">
        <pc:chgData name="Minh-Kha Nguyen" userId="73ea909082ace275" providerId="LiveId" clId="{B1554112-6404-403C-A743-7FE3323E2177}" dt="2020-04-05T09:03:20.502" v="11446" actId="207"/>
        <pc:sldMkLst>
          <pc:docMk/>
          <pc:sldMk cId="2903730808" sldId="357"/>
        </pc:sldMkLst>
        <pc:spChg chg="mod">
          <ac:chgData name="Minh-Kha Nguyen" userId="73ea909082ace275" providerId="LiveId" clId="{B1554112-6404-403C-A743-7FE3323E2177}" dt="2020-04-05T09:03:20.502" v="11446" actId="207"/>
          <ac:spMkLst>
            <pc:docMk/>
            <pc:sldMk cId="2903730808" sldId="357"/>
            <ac:spMk id="3" creationId="{2CD8122E-8A66-4F65-9740-7DC1B59991AD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13" creationId="{BEDB219A-695E-4DC8-9795-E2D9DC623ECE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14" creationId="{F73DD14F-A191-4D98-9F7D-065180983E0C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15" creationId="{AD9DA0E4-BB72-42C4-A73E-2811B9578447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16" creationId="{55B72FA5-8AB3-40EF-A69C-CE815C2A57BC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17" creationId="{FAA26406-40C6-4EA2-B338-57AF6A0A4C10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18" creationId="{5BC4AEDF-4BF6-40D1-9701-DF7D969962AA}"/>
          </ac:spMkLst>
        </pc:spChg>
        <pc:spChg chg="del">
          <ac:chgData name="Minh-Kha Nguyen" userId="73ea909082ace275" providerId="LiveId" clId="{B1554112-6404-403C-A743-7FE3323E2177}" dt="2020-04-05T09:02:51.849" v="11443" actId="478"/>
          <ac:spMkLst>
            <pc:docMk/>
            <pc:sldMk cId="2903730808" sldId="357"/>
            <ac:spMk id="20" creationId="{A5CEA2CE-1E2F-4A47-A47C-C71AAB8777B9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0" creationId="{237E034D-263A-4825-847B-4C180538AECB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1" creationId="{8817E9AE-1D63-45EF-8D1D-FCF966CF0699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2" creationId="{6CB27849-3E70-4A31-9094-E16575CE1D7E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3" creationId="{721FBC37-F9C3-4406-81B4-03FD7AA9A483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4" creationId="{3787D48C-C62B-410C-8769-0C1097ED0719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5" creationId="{5CD866FE-8334-4AC4-8EE9-17B9723B3306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6" creationId="{1BD8B140-F215-40CD-BC89-2CBD5954C6C9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7" creationId="{C863250F-270C-43C3-9491-4D15E1EFA1EB}"/>
          </ac:spMkLst>
        </pc:spChg>
        <pc:spChg chg="del">
          <ac:chgData name="Minh-Kha Nguyen" userId="73ea909082ace275" providerId="LiveId" clId="{B1554112-6404-403C-A743-7FE3323E2177}" dt="2020-04-05T09:02:49.599" v="11442" actId="478"/>
          <ac:spMkLst>
            <pc:docMk/>
            <pc:sldMk cId="2903730808" sldId="357"/>
            <ac:spMk id="38" creationId="{1B7A6DA6-588C-4E24-B8F4-B7FA4915A3AB}"/>
          </ac:spMkLst>
        </pc:spChg>
        <pc:spChg chg="del">
          <ac:chgData name="Minh-Kha Nguyen" userId="73ea909082ace275" providerId="LiveId" clId="{B1554112-6404-403C-A743-7FE3323E2177}" dt="2020-04-05T09:02:51.849" v="11443" actId="478"/>
          <ac:spMkLst>
            <pc:docMk/>
            <pc:sldMk cId="2903730808" sldId="357"/>
            <ac:spMk id="39" creationId="{CAE87AAB-88C2-4354-B289-A0F083E5ED03}"/>
          </ac:spMkLst>
        </pc:spChg>
        <pc:picChg chg="del">
          <ac:chgData name="Minh-Kha Nguyen" userId="73ea909082ace275" providerId="LiveId" clId="{B1554112-6404-403C-A743-7FE3323E2177}" dt="2020-04-05T09:02:49.599" v="11442" actId="478"/>
          <ac:picMkLst>
            <pc:docMk/>
            <pc:sldMk cId="2903730808" sldId="357"/>
            <ac:picMk id="6" creationId="{182F4DCE-3821-4CD2-9A16-8FB1B79D4BB7}"/>
          </ac:picMkLst>
        </pc:picChg>
        <pc:picChg chg="del">
          <ac:chgData name="Minh-Kha Nguyen" userId="73ea909082ace275" providerId="LiveId" clId="{B1554112-6404-403C-A743-7FE3323E2177}" dt="2020-04-05T09:02:49.599" v="11442" actId="478"/>
          <ac:picMkLst>
            <pc:docMk/>
            <pc:sldMk cId="2903730808" sldId="357"/>
            <ac:picMk id="8" creationId="{5B511536-9F0E-429C-83BC-70CEFEA6EE96}"/>
          </ac:picMkLst>
        </pc:picChg>
        <pc:picChg chg="del">
          <ac:chgData name="Minh-Kha Nguyen" userId="73ea909082ace275" providerId="LiveId" clId="{B1554112-6404-403C-A743-7FE3323E2177}" dt="2020-04-05T09:02:51.849" v="11443" actId="478"/>
          <ac:picMkLst>
            <pc:docMk/>
            <pc:sldMk cId="2903730808" sldId="357"/>
            <ac:picMk id="19" creationId="{06633C77-13C1-4E21-A487-6484E5E5AA4A}"/>
          </ac:picMkLst>
        </pc:picChg>
        <pc:picChg chg="del">
          <ac:chgData name="Minh-Kha Nguyen" userId="73ea909082ace275" providerId="LiveId" clId="{B1554112-6404-403C-A743-7FE3323E2177}" dt="2020-04-05T09:02:49.599" v="11442" actId="478"/>
          <ac:picMkLst>
            <pc:docMk/>
            <pc:sldMk cId="2903730808" sldId="357"/>
            <ac:picMk id="22" creationId="{480A263A-270E-43AF-B23A-9F6DA2230A4F}"/>
          </ac:picMkLst>
        </pc:picChg>
        <pc:picChg chg="del">
          <ac:chgData name="Minh-Kha Nguyen" userId="73ea909082ace275" providerId="LiveId" clId="{B1554112-6404-403C-A743-7FE3323E2177}" dt="2020-04-05T09:02:49.599" v="11442" actId="478"/>
          <ac:picMkLst>
            <pc:docMk/>
            <pc:sldMk cId="2903730808" sldId="357"/>
            <ac:picMk id="23" creationId="{DA75398B-B068-4C34-B533-5F1A81D3405A}"/>
          </ac:picMkLst>
        </pc:picChg>
        <pc:picChg chg="del">
          <ac:chgData name="Minh-Kha Nguyen" userId="73ea909082ace275" providerId="LiveId" clId="{B1554112-6404-403C-A743-7FE3323E2177}" dt="2020-04-05T09:02:49.599" v="11442" actId="478"/>
          <ac:picMkLst>
            <pc:docMk/>
            <pc:sldMk cId="2903730808" sldId="357"/>
            <ac:picMk id="24" creationId="{1A18C5D9-151F-4498-B618-59A2918CE727}"/>
          </ac:picMkLst>
        </pc:picChg>
        <pc:picChg chg="del">
          <ac:chgData name="Minh-Kha Nguyen" userId="73ea909082ace275" providerId="LiveId" clId="{B1554112-6404-403C-A743-7FE3323E2177}" dt="2020-04-05T09:02:49.599" v="11442" actId="478"/>
          <ac:picMkLst>
            <pc:docMk/>
            <pc:sldMk cId="2903730808" sldId="357"/>
            <ac:picMk id="25" creationId="{F003F246-D63E-4813-857C-EF0CEE87B0E9}"/>
          </ac:picMkLst>
        </pc:picChg>
        <pc:picChg chg="del">
          <ac:chgData name="Minh-Kha Nguyen" userId="73ea909082ace275" providerId="LiveId" clId="{B1554112-6404-403C-A743-7FE3323E2177}" dt="2020-04-05T09:02:49.599" v="11442" actId="478"/>
          <ac:picMkLst>
            <pc:docMk/>
            <pc:sldMk cId="2903730808" sldId="357"/>
            <ac:picMk id="26" creationId="{24F12A3E-3EB8-4EBD-B365-33E2C569D54D}"/>
          </ac:picMkLst>
        </pc:picChg>
        <pc:cxnChg chg="del">
          <ac:chgData name="Minh-Kha Nguyen" userId="73ea909082ace275" providerId="LiveId" clId="{B1554112-6404-403C-A743-7FE3323E2177}" dt="2020-04-05T09:02:49.599" v="11442" actId="478"/>
          <ac:cxnSpMkLst>
            <pc:docMk/>
            <pc:sldMk cId="2903730808" sldId="357"/>
            <ac:cxnSpMk id="5" creationId="{6E2FCDCB-5D26-4B72-B533-BD908B00B56D}"/>
          </ac:cxnSpMkLst>
        </pc:cxnChg>
        <pc:cxnChg chg="del">
          <ac:chgData name="Minh-Kha Nguyen" userId="73ea909082ace275" providerId="LiveId" clId="{B1554112-6404-403C-A743-7FE3323E2177}" dt="2020-04-05T09:02:51.849" v="11443" actId="478"/>
          <ac:cxnSpMkLst>
            <pc:docMk/>
            <pc:sldMk cId="2903730808" sldId="357"/>
            <ac:cxnSpMk id="21" creationId="{DC4C66CB-CFBA-4846-BE8E-47B5C57B7550}"/>
          </ac:cxnSpMkLst>
        </pc:cxnChg>
      </pc:sldChg>
      <pc:sldChg chg="addSp delSp modSp add mod">
        <pc:chgData name="Minh-Kha Nguyen" userId="73ea909082ace275" providerId="LiveId" clId="{B1554112-6404-403C-A743-7FE3323E2177}" dt="2020-04-05T09:29:30.791" v="12420"/>
        <pc:sldMkLst>
          <pc:docMk/>
          <pc:sldMk cId="1183345511" sldId="358"/>
        </pc:sldMkLst>
        <pc:spChg chg="mod">
          <ac:chgData name="Minh-Kha Nguyen" userId="73ea909082ace275" providerId="LiveId" clId="{B1554112-6404-403C-A743-7FE3323E2177}" dt="2020-04-05T09:27:09.426" v="12322" actId="1076"/>
          <ac:spMkLst>
            <pc:docMk/>
            <pc:sldMk cId="1183345511" sldId="358"/>
            <ac:spMk id="8" creationId="{E39A87B4-C3D0-489D-9F1D-A532A3EB6B6A}"/>
          </ac:spMkLst>
        </pc:spChg>
        <pc:picChg chg="add del">
          <ac:chgData name="Minh-Kha Nguyen" userId="73ea909082ace275" providerId="LiveId" clId="{B1554112-6404-403C-A743-7FE3323E2177}" dt="2020-04-05T09:29:30.575" v="12419" actId="478"/>
          <ac:picMkLst>
            <pc:docMk/>
            <pc:sldMk cId="1183345511" sldId="358"/>
            <ac:picMk id="34" creationId="{E1E95C43-8CF7-4CE9-BEFF-08D76012D781}"/>
          </ac:picMkLst>
        </pc:picChg>
        <pc:picChg chg="add">
          <ac:chgData name="Minh-Kha Nguyen" userId="73ea909082ace275" providerId="LiveId" clId="{B1554112-6404-403C-A743-7FE3323E2177}" dt="2020-04-05T09:29:30.791" v="12420"/>
          <ac:picMkLst>
            <pc:docMk/>
            <pc:sldMk cId="1183345511" sldId="358"/>
            <ac:picMk id="35" creationId="{7525B73D-5944-4657-8C9E-DA2441AFD698}"/>
          </ac:picMkLst>
        </pc:picChg>
        <pc:picChg chg="del">
          <ac:chgData name="Minh-Kha Nguyen" userId="73ea909082ace275" providerId="LiveId" clId="{B1554112-6404-403C-A743-7FE3323E2177}" dt="2020-04-05T09:28:52.386" v="12374" actId="478"/>
          <ac:picMkLst>
            <pc:docMk/>
            <pc:sldMk cId="1183345511" sldId="358"/>
            <ac:picMk id="39" creationId="{FAA3E387-37F8-4CC8-B363-5A31753199C5}"/>
          </ac:picMkLst>
        </pc:picChg>
      </pc:sldChg>
      <pc:sldChg chg="addSp modSp add mod">
        <pc:chgData name="Minh-Kha Nguyen" userId="73ea909082ace275" providerId="LiveId" clId="{B1554112-6404-403C-A743-7FE3323E2177}" dt="2020-04-05T11:40:24.172" v="14727" actId="1037"/>
        <pc:sldMkLst>
          <pc:docMk/>
          <pc:sldMk cId="1464675968" sldId="359"/>
        </pc:sldMkLst>
        <pc:spChg chg="mod">
          <ac:chgData name="Minh-Kha Nguyen" userId="73ea909082ace275" providerId="LiveId" clId="{B1554112-6404-403C-A743-7FE3323E2177}" dt="2020-04-05T11:40:01.964" v="14644" actId="1035"/>
          <ac:spMkLst>
            <pc:docMk/>
            <pc:sldMk cId="1464675968" sldId="359"/>
            <ac:spMk id="8" creationId="{CCE6CBF3-DE61-4DDF-94B4-4B6B7D9577E7}"/>
          </ac:spMkLst>
        </pc:spChg>
        <pc:spChg chg="add mod">
          <ac:chgData name="Minh-Kha Nguyen" userId="73ea909082ace275" providerId="LiveId" clId="{B1554112-6404-403C-A743-7FE3323E2177}" dt="2020-04-05T11:40:24.172" v="14727" actId="1037"/>
          <ac:spMkLst>
            <pc:docMk/>
            <pc:sldMk cId="1464675968" sldId="359"/>
            <ac:spMk id="28" creationId="{A9267A19-E8EA-4B5F-8331-DCFFA4A3464A}"/>
          </ac:spMkLst>
        </pc:spChg>
        <pc:picChg chg="mod">
          <ac:chgData name="Minh-Kha Nguyen" userId="73ea909082ace275" providerId="LiveId" clId="{B1554112-6404-403C-A743-7FE3323E2177}" dt="2020-04-05T11:40:01.964" v="14644" actId="1035"/>
          <ac:picMkLst>
            <pc:docMk/>
            <pc:sldMk cId="1464675968" sldId="359"/>
            <ac:picMk id="7" creationId="{FC6A73B6-536F-408E-810E-4BE805091326}"/>
          </ac:picMkLst>
        </pc:picChg>
      </pc:sldChg>
      <pc:sldChg chg="addSp delSp modSp add mod modTransition modAnim">
        <pc:chgData name="Minh-Kha Nguyen" userId="73ea909082ace275" providerId="LiveId" clId="{B1554112-6404-403C-A743-7FE3323E2177}" dt="2020-04-05T11:35:25.505" v="14393" actId="20577"/>
        <pc:sldMkLst>
          <pc:docMk/>
          <pc:sldMk cId="1442945556" sldId="360"/>
        </pc:sldMkLst>
        <pc:spChg chg="add mod topLvl">
          <ac:chgData name="Minh-Kha Nguyen" userId="73ea909082ace275" providerId="LiveId" clId="{B1554112-6404-403C-A743-7FE3323E2177}" dt="2020-04-05T09:41:14.644" v="12778" actId="408"/>
          <ac:spMkLst>
            <pc:docMk/>
            <pc:sldMk cId="1442945556" sldId="360"/>
            <ac:spMk id="5" creationId="{8DAEBC5F-ED30-409C-BB7E-1D3C8A224C75}"/>
          </ac:spMkLst>
        </pc:spChg>
        <pc:spChg chg="add del mod">
          <ac:chgData name="Minh-Kha Nguyen" userId="73ea909082ace275" providerId="LiveId" clId="{B1554112-6404-403C-A743-7FE3323E2177}" dt="2020-04-05T09:37:12.813" v="12680" actId="478"/>
          <ac:spMkLst>
            <pc:docMk/>
            <pc:sldMk cId="1442945556" sldId="360"/>
            <ac:spMk id="21" creationId="{7710EBC3-536C-4340-B5ED-D9326AC45BAE}"/>
          </ac:spMkLst>
        </pc:spChg>
        <pc:spChg chg="add mod">
          <ac:chgData name="Minh-Kha Nguyen" userId="73ea909082ace275" providerId="LiveId" clId="{B1554112-6404-403C-A743-7FE3323E2177}" dt="2020-04-05T09:41:49.453" v="12805" actId="20577"/>
          <ac:spMkLst>
            <pc:docMk/>
            <pc:sldMk cId="1442945556" sldId="360"/>
            <ac:spMk id="22" creationId="{5E9735A4-F9C5-4D7C-A853-29BAA905A37C}"/>
          </ac:spMkLst>
        </pc:spChg>
        <pc:spChg chg="add mod topLvl">
          <ac:chgData name="Minh-Kha Nguyen" userId="73ea909082ace275" providerId="LiveId" clId="{B1554112-6404-403C-A743-7FE3323E2177}" dt="2020-04-05T09:41:14.644" v="12778" actId="408"/>
          <ac:spMkLst>
            <pc:docMk/>
            <pc:sldMk cId="1442945556" sldId="360"/>
            <ac:spMk id="24" creationId="{1337AAD5-09C7-4CDD-8B73-50DE1F808523}"/>
          </ac:spMkLst>
        </pc:spChg>
        <pc:spChg chg="add mod topLvl">
          <ac:chgData name="Minh-Kha Nguyen" userId="73ea909082ace275" providerId="LiveId" clId="{B1554112-6404-403C-A743-7FE3323E2177}" dt="2020-04-05T09:41:14.644" v="12778" actId="408"/>
          <ac:spMkLst>
            <pc:docMk/>
            <pc:sldMk cId="1442945556" sldId="360"/>
            <ac:spMk id="25" creationId="{E38F134F-49EA-4510-A3F4-2E4DB9FFB308}"/>
          </ac:spMkLst>
        </pc:spChg>
        <pc:spChg chg="add mod">
          <ac:chgData name="Minh-Kha Nguyen" userId="73ea909082ace275" providerId="LiveId" clId="{B1554112-6404-403C-A743-7FE3323E2177}" dt="2020-04-05T11:34:07.229" v="14336" actId="20577"/>
          <ac:spMkLst>
            <pc:docMk/>
            <pc:sldMk cId="1442945556" sldId="360"/>
            <ac:spMk id="27" creationId="{026278AC-3BB0-4A04-857F-80CF7CDBDA00}"/>
          </ac:spMkLst>
        </pc:spChg>
        <pc:spChg chg="add mod">
          <ac:chgData name="Minh-Kha Nguyen" userId="73ea909082ace275" providerId="LiveId" clId="{B1554112-6404-403C-A743-7FE3323E2177}" dt="2020-04-05T11:34:20.411" v="14345" actId="20577"/>
          <ac:spMkLst>
            <pc:docMk/>
            <pc:sldMk cId="1442945556" sldId="360"/>
            <ac:spMk id="28" creationId="{C465E7A5-16A3-46E6-92AC-9FEACF9FEF78}"/>
          </ac:spMkLst>
        </pc:spChg>
        <pc:spChg chg="add mod">
          <ac:chgData name="Minh-Kha Nguyen" userId="73ea909082ace275" providerId="LiveId" clId="{B1554112-6404-403C-A743-7FE3323E2177}" dt="2020-04-05T09:43:04.626" v="12908" actId="1037"/>
          <ac:spMkLst>
            <pc:docMk/>
            <pc:sldMk cId="1442945556" sldId="360"/>
            <ac:spMk id="29" creationId="{EAFB311F-FCF6-4B06-839A-EE23DF2C885A}"/>
          </ac:spMkLst>
        </pc:spChg>
        <pc:spChg chg="add mod">
          <ac:chgData name="Minh-Kha Nguyen" userId="73ea909082ace275" providerId="LiveId" clId="{B1554112-6404-403C-A743-7FE3323E2177}" dt="2020-04-05T09:43:55.960" v="13021" actId="1038"/>
          <ac:spMkLst>
            <pc:docMk/>
            <pc:sldMk cId="1442945556" sldId="360"/>
            <ac:spMk id="30" creationId="{449B91AC-B9B9-4619-A492-675479A19117}"/>
          </ac:spMkLst>
        </pc:spChg>
        <pc:spChg chg="add mod">
          <ac:chgData name="Minh-Kha Nguyen" userId="73ea909082ace275" providerId="LiveId" clId="{B1554112-6404-403C-A743-7FE3323E2177}" dt="2020-04-05T11:35:25.505" v="14393" actId="20577"/>
          <ac:spMkLst>
            <pc:docMk/>
            <pc:sldMk cId="1442945556" sldId="360"/>
            <ac:spMk id="31" creationId="{C82775D0-0982-439A-86FC-39127123F0CA}"/>
          </ac:spMkLst>
        </pc:spChg>
        <pc:spChg chg="add mod">
          <ac:chgData name="Minh-Kha Nguyen" userId="73ea909082ace275" providerId="LiveId" clId="{B1554112-6404-403C-A743-7FE3323E2177}" dt="2020-04-05T11:35:14.478" v="14369" actId="20577"/>
          <ac:spMkLst>
            <pc:docMk/>
            <pc:sldMk cId="1442945556" sldId="360"/>
            <ac:spMk id="32" creationId="{BF7374BA-A78C-429B-B6B6-3EB55FE86165}"/>
          </ac:spMkLst>
        </pc:spChg>
        <pc:spChg chg="add mod">
          <ac:chgData name="Minh-Kha Nguyen" userId="73ea909082ace275" providerId="LiveId" clId="{B1554112-6404-403C-A743-7FE3323E2177}" dt="2020-04-05T09:44:18.922" v="13062" actId="20577"/>
          <ac:spMkLst>
            <pc:docMk/>
            <pc:sldMk cId="1442945556" sldId="360"/>
            <ac:spMk id="33" creationId="{28BF12E3-CCFE-4675-A195-D265F7FB0BD9}"/>
          </ac:spMkLst>
        </pc:spChg>
        <pc:spChg chg="add mod">
          <ac:chgData name="Minh-Kha Nguyen" userId="73ea909082ace275" providerId="LiveId" clId="{B1554112-6404-403C-A743-7FE3323E2177}" dt="2020-04-05T09:44:21.168" v="13063"/>
          <ac:spMkLst>
            <pc:docMk/>
            <pc:sldMk cId="1442945556" sldId="360"/>
            <ac:spMk id="34" creationId="{71D0A76A-508A-4616-A016-8F11279DFD66}"/>
          </ac:spMkLst>
        </pc:spChg>
        <pc:spChg chg="add mod">
          <ac:chgData name="Minh-Kha Nguyen" userId="73ea909082ace275" providerId="LiveId" clId="{B1554112-6404-403C-A743-7FE3323E2177}" dt="2020-04-05T09:44:22.451" v="13064"/>
          <ac:spMkLst>
            <pc:docMk/>
            <pc:sldMk cId="1442945556" sldId="360"/>
            <ac:spMk id="35" creationId="{D53C5616-F897-4AE1-A2F6-5C8B7318031F}"/>
          </ac:spMkLst>
        </pc:spChg>
        <pc:grpChg chg="add del mod">
          <ac:chgData name="Minh-Kha Nguyen" userId="73ea909082ace275" providerId="LiveId" clId="{B1554112-6404-403C-A743-7FE3323E2177}" dt="2020-04-05T09:41:12.346" v="12777" actId="165"/>
          <ac:grpSpMkLst>
            <pc:docMk/>
            <pc:sldMk cId="1442945556" sldId="360"/>
            <ac:grpSpMk id="6" creationId="{70F5C1DA-A6B8-4DC0-BC51-EDF7F1418F3A}"/>
          </ac:grpSpMkLst>
        </pc:grpChg>
        <pc:picChg chg="add del mod">
          <ac:chgData name="Minh-Kha Nguyen" userId="73ea909082ace275" providerId="LiveId" clId="{B1554112-6404-403C-A743-7FE3323E2177}" dt="2020-04-05T09:37:29.126" v="12682" actId="21"/>
          <ac:picMkLst>
            <pc:docMk/>
            <pc:sldMk cId="1442945556" sldId="360"/>
            <ac:picMk id="3" creationId="{B5A68C39-EF0D-4155-8277-DD52B4467DCD}"/>
          </ac:picMkLst>
        </pc:picChg>
      </pc:sldChg>
      <pc:sldChg chg="add del">
        <pc:chgData name="Minh-Kha Nguyen" userId="73ea909082ace275" providerId="LiveId" clId="{B1554112-6404-403C-A743-7FE3323E2177}" dt="2020-04-05T11:15:08.873" v="13071" actId="47"/>
        <pc:sldMkLst>
          <pc:docMk/>
          <pc:sldMk cId="2749962136" sldId="361"/>
        </pc:sldMkLst>
      </pc:sldChg>
      <pc:sldChg chg="delSp add mod setBg">
        <pc:chgData name="Minh-Kha Nguyen" userId="73ea909082ace275" providerId="LiveId" clId="{B1554112-6404-403C-A743-7FE3323E2177}" dt="2020-04-05T11:15:50.437" v="13081" actId="478"/>
        <pc:sldMkLst>
          <pc:docMk/>
          <pc:sldMk cId="3709339504" sldId="361"/>
        </pc:sldMkLst>
        <pc:spChg chg="del">
          <ac:chgData name="Minh-Kha Nguyen" userId="73ea909082ace275" providerId="LiveId" clId="{B1554112-6404-403C-A743-7FE3323E2177}" dt="2020-04-05T11:15:50.437" v="13081" actId="478"/>
          <ac:spMkLst>
            <pc:docMk/>
            <pc:sldMk cId="3709339504" sldId="361"/>
            <ac:spMk id="3" creationId="{2CD8122E-8A66-4F65-9740-7DC1B59991AD}"/>
          </ac:spMkLst>
        </pc:spChg>
      </pc:sldChg>
      <pc:sldMasterChg chg="delSldLayout">
        <pc:chgData name="Minh-Kha Nguyen" userId="73ea909082ace275" providerId="LiveId" clId="{B1554112-6404-403C-A743-7FE3323E2177}" dt="2020-04-04T19:56:55.875" v="6467" actId="47"/>
        <pc:sldMasterMkLst>
          <pc:docMk/>
          <pc:sldMasterMk cId="3451926006" sldId="2147483648"/>
        </pc:sldMasterMkLst>
        <pc:sldLayoutChg chg="del">
          <pc:chgData name="Minh-Kha Nguyen" userId="73ea909082ace275" providerId="LiveId" clId="{B1554112-6404-403C-A743-7FE3323E2177}" dt="2020-04-04T19:56:55.875" v="6467" actId="47"/>
          <pc:sldLayoutMkLst>
            <pc:docMk/>
            <pc:sldMasterMk cId="3451926006" sldId="2147483648"/>
            <pc:sldLayoutMk cId="1898790845" sldId="214748366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7F732D-8BF7-9D49-8EC1-C26357659F28}" type="datetimeFigureOut">
              <a:rPr lang="de-DE" smtClean="0"/>
              <a:t>05.04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901B9C-5480-9C48-A965-29B9F5FACCF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7078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17194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58154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0013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6964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6321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39644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25753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69344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88931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2453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26107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14442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74704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87148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37902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43464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6873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68169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901B9C-5480-9C48-A965-29B9F5FACCF3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56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A36023-FED7-4CA5-A3DA-5DD6FE89C6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3A1ED12-21B9-4569-A1A0-8E8E39D299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CEC2164-CF53-4476-A05C-0E940DF16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A1F253D-8225-4D3C-A6EF-4271C5394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9AB1671-7876-44A0-A39D-556CA5ECB2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7965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368531-06DF-49B1-B866-969A7DD0A8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E54F859-673A-479F-B2AC-898E326CBB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DD15752-644C-4E9A-8257-59F8B01F3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1274F9-1D3A-46B3-A183-CCE23BF92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68C6E4-689F-42B6-9EA2-B7F9CD82B0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0486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95D2DCF9-90D8-41F2-8A86-EABF9B2454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31DEB90-699C-4143-BF8F-4008DD386D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3D98A9C-0D7F-43CB-A014-4A1EFA059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4CA4B61-DA9D-46C8-981D-727364116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4E3C64-E133-49AD-9889-35BD4B6EA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7417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6A61EA-A8B6-44FB-B915-148A0562D5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203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6A61EA-A8B6-44FB-B915-148A0562D5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10FC034-F315-47F7-B8EF-39674D6B76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CC5E943-987F-444D-983E-D5D77FF477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90EBAF4-5494-4EC7-98A8-80A14D9232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E81121-16AA-48FB-9641-6958B285C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EC1ACD4-B36E-4861-8297-A45B9189F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0E5C29-AD4A-4256-B5C5-E38F57B0D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210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DC0FA3-5134-4AD6-B5F7-4418E3847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5ED9F3-8FDF-40CD-9F6F-2FE9014719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95BD25-7E79-4655-B6BE-25E9A5AB62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59031C0-4EE9-45E7-84EB-B408E6071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9479C3F-0627-486B-B758-028A3F73F6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4691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C454DF-3F20-4612-8FD9-418A7F22F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B401A5-85F9-4CCA-8ABB-C80C7E1B61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DC84B2B-1E43-4E03-B22F-53A1586953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BD3344C-DCEC-4E6E-A847-CBCDA4C613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20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C39A9DE-EC26-42B1-80DD-33F9F5CA69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AFD9D8E-82CD-4E10-993D-82AD35F5FF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6640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B01BFE-4B59-4F39-8107-0C1F296A5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185B76E-3527-4976-81C2-61C28D6780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938AFF9-19AB-49C3-B28C-D7CDE9F081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42D248-3813-460B-A1F8-8AE09433A0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5B2DD5-B2AD-4714-8D9E-E0A690E8339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6B25213-CB04-42DF-8432-B0615DC572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20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DD36681-392E-432B-973C-F8EF1F8AF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52FBD95-BC2F-42E5-9678-593DDCA178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169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B7E506-CF7E-476E-80FB-E09A8C56A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C56D66C-720F-4F2C-A2E2-39D7E21D0B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20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EF7D09-43BC-4176-8D8B-0976C2687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D80FB78-FAFD-454A-909B-22B35A338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573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4945292-C262-47B9-9E80-5681A6EC1A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20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081B33A-7DBD-4CC8-AB80-874F917AC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FA5D33A-7109-456A-B3CF-19609C40C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975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B4C9E7-F264-4CFA-A19D-E804E8778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0C04E44-97F1-483B-BEE6-82486BC3E6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C4C48D7-6877-46B6-B3FF-997E842ED6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EBDDDD0-F35D-466F-AA5B-6382383BE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20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6B95DD5-A1D6-44F9-B14C-5580566967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1A84933-E99D-47D0-8502-1993E4765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563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1D7B54-5034-44FD-A484-6BCDB010F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8A873E13-7753-461F-AB27-3F840C3D14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EDAEEC0-663C-445A-A100-6D7BFA81B2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417D37-6DD7-4F8D-8366-AFBCF47CB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CD06B-BFDD-4946-A8D9-A71081AEE8DE}" type="datetimeFigureOut">
              <a:rPr lang="en-US" smtClean="0"/>
              <a:t>4/5/2020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313E00F-3304-4AA9-8CB8-CE42BCD183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24CA99D-5BE1-4B54-850B-7808EA1F5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443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B217C8F-D845-4A2A-A5EA-D8B1CCA324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43129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498" imgH="499" progId="TCLayout.ActiveDocument.1">
                  <p:embed/>
                </p:oleObj>
              </mc:Choice>
              <mc:Fallback>
                <p:oleObj name="think-cell Slide" r:id="rId16" imgW="498" imgH="49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B217C8F-D845-4A2A-A5EA-D8B1CCA324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EC78EA82-3A1E-4D84-BEE5-DB3071FE81A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 Nova" panose="020B0504020202020204" pitchFamily="34" charset="0"/>
              <a:ea typeface="+mj-ea"/>
              <a:cs typeface="+mj-cs"/>
              <a:sym typeface="Arial Nova" panose="020B05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BEE859C-5E65-41AA-BE5F-7AA4B8C4F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C0F48D-094A-4F8C-A1D2-490962150A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EC188C9-F8C8-4507-B5DB-5FAED02AC6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1CD06B-BFDD-4946-A8D9-A71081AEE8DE}" type="datetimeFigureOut">
              <a:rPr lang="en-US" smtClean="0"/>
              <a:t>4/5/2020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A75AC0-396F-4D27-8E63-89C09C8200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68FBDF3-3A39-422E-A0A6-624F6BE75D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D8D1A2-D049-40E4-B004-01B2517F9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92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3154D"/>
          </a:solidFill>
          <a:latin typeface="Arial Nova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11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6.emf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png"/><Relationship Id="rId12" Type="http://schemas.openxmlformats.org/officeDocument/2006/relationships/image" Target="../media/image28.png"/><Relationship Id="rId17" Type="http://schemas.openxmlformats.org/officeDocument/2006/relationships/image" Target="../media/image33.svg"/><Relationship Id="rId2" Type="http://schemas.openxmlformats.org/officeDocument/2006/relationships/tags" Target="../tags/tag15.xml"/><Relationship Id="rId16" Type="http://schemas.openxmlformats.org/officeDocument/2006/relationships/image" Target="../media/image32.png"/><Relationship Id="rId20" Type="http://schemas.openxmlformats.org/officeDocument/2006/relationships/image" Target="../media/image8.emf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11" Type="http://schemas.openxmlformats.org/officeDocument/2006/relationships/image" Target="../media/image27.png"/><Relationship Id="rId5" Type="http://schemas.openxmlformats.org/officeDocument/2006/relationships/oleObject" Target="../embeddings/oleObject12.bin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19" Type="http://schemas.openxmlformats.org/officeDocument/2006/relationships/image" Target="../media/image35.sv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3.png"/><Relationship Id="rId1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png"/><Relationship Id="rId12" Type="http://schemas.openxmlformats.org/officeDocument/2006/relationships/image" Target="../media/image28.png"/><Relationship Id="rId17" Type="http://schemas.openxmlformats.org/officeDocument/2006/relationships/image" Target="../media/image33.svg"/><Relationship Id="rId2" Type="http://schemas.openxmlformats.org/officeDocument/2006/relationships/tags" Target="../tags/tag16.xml"/><Relationship Id="rId16" Type="http://schemas.openxmlformats.org/officeDocument/2006/relationships/image" Target="../media/image32.png"/><Relationship Id="rId20" Type="http://schemas.openxmlformats.org/officeDocument/2006/relationships/image" Target="../media/image8.emf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11" Type="http://schemas.openxmlformats.org/officeDocument/2006/relationships/image" Target="../media/image27.png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19" Type="http://schemas.openxmlformats.org/officeDocument/2006/relationships/image" Target="../media/image35.sv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3.png"/><Relationship Id="rId1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8.png"/><Relationship Id="rId18" Type="http://schemas.openxmlformats.org/officeDocument/2006/relationships/image" Target="../media/image33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" Type="http://schemas.openxmlformats.org/officeDocument/2006/relationships/tags" Target="../tags/tag17.xml"/><Relationship Id="rId16" Type="http://schemas.openxmlformats.org/officeDocument/2006/relationships/image" Target="../media/image31.svg"/><Relationship Id="rId20" Type="http://schemas.openxmlformats.org/officeDocument/2006/relationships/image" Target="../media/image35.svg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14.bin"/><Relationship Id="rId15" Type="http://schemas.openxmlformats.org/officeDocument/2006/relationships/image" Target="../media/image30.png"/><Relationship Id="rId10" Type="http://schemas.openxmlformats.org/officeDocument/2006/relationships/image" Target="../media/image23.png"/><Relationship Id="rId19" Type="http://schemas.openxmlformats.org/officeDocument/2006/relationships/image" Target="../media/image34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8.emf"/><Relationship Id="rId1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6.emf"/><Relationship Id="rId7" Type="http://schemas.openxmlformats.org/officeDocument/2006/relationships/image" Target="../media/image21.png"/><Relationship Id="rId12" Type="http://schemas.openxmlformats.org/officeDocument/2006/relationships/image" Target="../media/image28.png"/><Relationship Id="rId17" Type="http://schemas.openxmlformats.org/officeDocument/2006/relationships/image" Target="../media/image33.svg"/><Relationship Id="rId25" Type="http://schemas.openxmlformats.org/officeDocument/2006/relationships/image" Target="../media/image8.emf"/><Relationship Id="rId2" Type="http://schemas.openxmlformats.org/officeDocument/2006/relationships/tags" Target="../tags/tag18.xml"/><Relationship Id="rId16" Type="http://schemas.openxmlformats.org/officeDocument/2006/relationships/image" Target="../media/image32.png"/><Relationship Id="rId20" Type="http://schemas.openxmlformats.org/officeDocument/2006/relationships/image" Target="../media/image36.png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11" Type="http://schemas.openxmlformats.org/officeDocument/2006/relationships/image" Target="../media/image27.png"/><Relationship Id="rId24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15" Type="http://schemas.openxmlformats.org/officeDocument/2006/relationships/image" Target="../media/image31.svg"/><Relationship Id="rId23" Type="http://schemas.openxmlformats.org/officeDocument/2006/relationships/image" Target="../media/image4.emf"/><Relationship Id="rId10" Type="http://schemas.openxmlformats.org/officeDocument/2006/relationships/image" Target="../media/image26.png"/><Relationship Id="rId19" Type="http://schemas.openxmlformats.org/officeDocument/2006/relationships/image" Target="../media/image35.sv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3.png"/><Relationship Id="rId14" Type="http://schemas.openxmlformats.org/officeDocument/2006/relationships/image" Target="../media/image30.png"/><Relationship Id="rId22" Type="http://schemas.openxmlformats.org/officeDocument/2006/relationships/image" Target="../media/image7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2" Type="http://schemas.openxmlformats.org/officeDocument/2006/relationships/tags" Target="../tags/tag19.xml"/><Relationship Id="rId16" Type="http://schemas.openxmlformats.org/officeDocument/2006/relationships/image" Target="../media/image45.png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11" Type="http://schemas.openxmlformats.org/officeDocument/2006/relationships/image" Target="../media/image40.png"/><Relationship Id="rId5" Type="http://schemas.openxmlformats.org/officeDocument/2006/relationships/oleObject" Target="../embeddings/oleObject16.bin"/><Relationship Id="rId15" Type="http://schemas.openxmlformats.org/officeDocument/2006/relationships/image" Target="../media/image44.png"/><Relationship Id="rId10" Type="http://schemas.openxmlformats.org/officeDocument/2006/relationships/image" Target="../media/image39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38.png"/><Relationship Id="rId1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image" Target="../media/image46.png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5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emf"/><Relationship Id="rId12" Type="http://schemas.openxmlformats.org/officeDocument/2006/relationships/image" Target="../media/image4.emf"/><Relationship Id="rId17" Type="http://schemas.openxmlformats.org/officeDocument/2006/relationships/image" Target="../media/image17.svg"/><Relationship Id="rId2" Type="http://schemas.openxmlformats.org/officeDocument/2006/relationships/tags" Target="../tags/tag21.xml"/><Relationship Id="rId16" Type="http://schemas.openxmlformats.org/officeDocument/2006/relationships/image" Target="../media/image16.png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7.emf"/><Relationship Id="rId5" Type="http://schemas.openxmlformats.org/officeDocument/2006/relationships/image" Target="../media/image46.png"/><Relationship Id="rId15" Type="http://schemas.openxmlformats.org/officeDocument/2006/relationships/image" Target="../media/image15.svg"/><Relationship Id="rId10" Type="http://schemas.openxmlformats.org/officeDocument/2006/relationships/image" Target="../media/image6.emf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36.png"/><Relationship Id="rId1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emf"/><Relationship Id="rId12" Type="http://schemas.openxmlformats.org/officeDocument/2006/relationships/image" Target="../media/image5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4.emf"/><Relationship Id="rId5" Type="http://schemas.openxmlformats.org/officeDocument/2006/relationships/image" Target="../media/image46.png"/><Relationship Id="rId10" Type="http://schemas.openxmlformats.org/officeDocument/2006/relationships/image" Target="../media/image7.emf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6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36.png"/><Relationship Id="rId18" Type="http://schemas.microsoft.com/office/2007/relationships/hdphoto" Target="../media/hdphoto2.wdp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51.png"/><Relationship Id="rId7" Type="http://schemas.openxmlformats.org/officeDocument/2006/relationships/image" Target="../media/image2.emf"/><Relationship Id="rId12" Type="http://schemas.openxmlformats.org/officeDocument/2006/relationships/image" Target="../media/image5.emf"/><Relationship Id="rId17" Type="http://schemas.openxmlformats.org/officeDocument/2006/relationships/image" Target="../media/image49.png"/><Relationship Id="rId2" Type="http://schemas.openxmlformats.org/officeDocument/2006/relationships/tags" Target="../tags/tag23.xml"/><Relationship Id="rId16" Type="http://schemas.microsoft.com/office/2007/relationships/hdphoto" Target="../media/hdphoto1.wdp"/><Relationship Id="rId20" Type="http://schemas.microsoft.com/office/2007/relationships/hdphoto" Target="../media/hdphoto3.wdp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11" Type="http://schemas.openxmlformats.org/officeDocument/2006/relationships/image" Target="../media/image4.emf"/><Relationship Id="rId5" Type="http://schemas.openxmlformats.org/officeDocument/2006/relationships/image" Target="../media/image46.png"/><Relationship Id="rId15" Type="http://schemas.openxmlformats.org/officeDocument/2006/relationships/image" Target="../media/image48.png"/><Relationship Id="rId10" Type="http://schemas.openxmlformats.org/officeDocument/2006/relationships/image" Target="../media/image7.emf"/><Relationship Id="rId19" Type="http://schemas.openxmlformats.org/officeDocument/2006/relationships/image" Target="../media/image50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6.emf"/><Relationship Id="rId14" Type="http://schemas.openxmlformats.org/officeDocument/2006/relationships/image" Target="../media/image47.png"/><Relationship Id="rId22" Type="http://schemas.microsoft.com/office/2007/relationships/hdphoto" Target="../media/hdphoto4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11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emf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5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11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7.emf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11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15" Type="http://schemas.openxmlformats.org/officeDocument/2006/relationships/image" Target="../media/image11.svg"/><Relationship Id="rId10" Type="http://schemas.openxmlformats.org/officeDocument/2006/relationships/image" Target="../media/image7.emf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6.emf"/><Relationship Id="rId1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5.emf"/><Relationship Id="rId17" Type="http://schemas.openxmlformats.org/officeDocument/2006/relationships/image" Target="../media/image11.svg"/><Relationship Id="rId2" Type="http://schemas.openxmlformats.org/officeDocument/2006/relationships/tags" Target="../tags/tag10.xml"/><Relationship Id="rId16" Type="http://schemas.openxmlformats.org/officeDocument/2006/relationships/image" Target="../media/image10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11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15" Type="http://schemas.openxmlformats.org/officeDocument/2006/relationships/image" Target="../media/image13.svg"/><Relationship Id="rId10" Type="http://schemas.openxmlformats.org/officeDocument/2006/relationships/image" Target="../media/image7.emf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6.emf"/><Relationship Id="rId1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3.sv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7.sv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6.png"/><Relationship Id="rId14" Type="http://schemas.openxmlformats.org/officeDocument/2006/relationships/image" Target="../media/image20.gi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7.sv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6.png"/><Relationship Id="rId14" Type="http://schemas.openxmlformats.org/officeDocument/2006/relationships/image" Target="../media/image20.gi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7.emf"/><Relationship Id="rId18" Type="http://schemas.openxmlformats.org/officeDocument/2006/relationships/image" Target="../media/image23.png"/><Relationship Id="rId26" Type="http://schemas.openxmlformats.org/officeDocument/2006/relationships/image" Target="../media/image20.gif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9.png"/><Relationship Id="rId7" Type="http://schemas.openxmlformats.org/officeDocument/2006/relationships/image" Target="../media/image14.png"/><Relationship Id="rId12" Type="http://schemas.openxmlformats.org/officeDocument/2006/relationships/image" Target="../media/image6.emf"/><Relationship Id="rId17" Type="http://schemas.openxmlformats.org/officeDocument/2006/relationships/image" Target="../media/image22.svg"/><Relationship Id="rId25" Type="http://schemas.openxmlformats.org/officeDocument/2006/relationships/image" Target="../media/image19.svg"/><Relationship Id="rId2" Type="http://schemas.openxmlformats.org/officeDocument/2006/relationships/tags" Target="../tags/tag14.xml"/><Relationship Id="rId16" Type="http://schemas.openxmlformats.org/officeDocument/2006/relationships/image" Target="../media/image21.png"/><Relationship Id="rId20" Type="http://schemas.openxmlformats.org/officeDocument/2006/relationships/image" Target="../media/image13.sv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11" Type="http://schemas.openxmlformats.org/officeDocument/2006/relationships/image" Target="../media/image3.emf"/><Relationship Id="rId24" Type="http://schemas.openxmlformats.org/officeDocument/2006/relationships/image" Target="../media/image18.png"/><Relationship Id="rId5" Type="http://schemas.openxmlformats.org/officeDocument/2006/relationships/oleObject" Target="../embeddings/oleObject11.bin"/><Relationship Id="rId15" Type="http://schemas.openxmlformats.org/officeDocument/2006/relationships/image" Target="../media/image5.emf"/><Relationship Id="rId23" Type="http://schemas.openxmlformats.org/officeDocument/2006/relationships/image" Target="../media/image25.svg"/><Relationship Id="rId10" Type="http://schemas.openxmlformats.org/officeDocument/2006/relationships/image" Target="../media/image17.svg"/><Relationship Id="rId19" Type="http://schemas.openxmlformats.org/officeDocument/2006/relationships/image" Target="../media/image12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6.png"/><Relationship Id="rId14" Type="http://schemas.openxmlformats.org/officeDocument/2006/relationships/image" Target="../media/image4.emf"/><Relationship Id="rId22" Type="http://schemas.openxmlformats.org/officeDocument/2006/relationships/image" Target="../media/image24.png"/><Relationship Id="rId27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919BC2-87B9-41EA-90BB-BAC6E8B22F5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65" t="-883" r="965" b="8856"/>
          <a:stretch/>
        </p:blipFill>
        <p:spPr>
          <a:xfrm>
            <a:off x="375562" y="-6795935"/>
            <a:ext cx="10879086" cy="674239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D3DF17-80E0-4473-BD89-D7E7E842392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595" y="7230134"/>
            <a:ext cx="583542" cy="14509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BCAAF5-44F3-4C8A-BE13-C117EBC7771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3819" y="7316621"/>
            <a:ext cx="788569" cy="134773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0389DED-0973-42CF-9741-4FF6B5B7B14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726" y="-1873437"/>
            <a:ext cx="868295" cy="172704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51915BF-C736-439B-81DD-78B8C890DA1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740" y="-1835270"/>
            <a:ext cx="763335" cy="168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0978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phic 16">
            <a:extLst>
              <a:ext uri="{FF2B5EF4-FFF2-40B4-BE49-F238E27FC236}">
                <a16:creationId xmlns:a16="http://schemas.microsoft.com/office/drawing/2014/main" id="{2F606D26-F79F-4D99-B07C-3C3AAF0FA7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8324" y="245035"/>
            <a:ext cx="7634465" cy="700996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124EB5F-3FAA-451C-A6A9-3984A075296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9998" y="1777644"/>
            <a:ext cx="6265378" cy="3126765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DF757115-A928-49BE-8D6A-23E4CA4FE65C}"/>
              </a:ext>
            </a:extLst>
          </p:cNvPr>
          <p:cNvSpPr txBox="1"/>
          <p:nvPr/>
        </p:nvSpPr>
        <p:spPr>
          <a:xfrm>
            <a:off x="2054389" y="3383280"/>
            <a:ext cx="24608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kurzarbeit</a:t>
            </a:r>
            <a:r>
              <a:rPr lang="en-US" dirty="0"/>
              <a:t> </a:t>
            </a:r>
            <a:r>
              <a:rPr lang="en-US" dirty="0" err="1"/>
              <a:t>schweiz</a:t>
            </a:r>
            <a:endParaRPr lang="en-US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7EEC70DF-5C76-4CFC-90E1-2E6B632301A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9692944">
            <a:off x="527072" y="788194"/>
            <a:ext cx="5170598" cy="24524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AB118F61-2A5F-4601-B3AB-E741F63D540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859549">
            <a:off x="3072752" y="907389"/>
            <a:ext cx="5170598" cy="245346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8F973880-2FBA-470B-9955-0BF6ADFF257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20434496">
            <a:off x="581685" y="2812936"/>
            <a:ext cx="5170598" cy="240864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920D0F61-3E97-4277-AFED-BAD6FF75D0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273820">
            <a:off x="2160331" y="2866424"/>
            <a:ext cx="5687658" cy="2858753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459D8228-04A2-4A25-977B-C470D66E3DD9}"/>
              </a:ext>
            </a:extLst>
          </p:cNvPr>
          <p:cNvGrpSpPr/>
          <p:nvPr/>
        </p:nvGrpSpPr>
        <p:grpSpPr>
          <a:xfrm>
            <a:off x="1732474" y="305840"/>
            <a:ext cx="5478762" cy="4180756"/>
            <a:chOff x="1732474" y="305840"/>
            <a:chExt cx="5478762" cy="4180756"/>
          </a:xfrm>
        </p:grpSpPr>
        <p:sp>
          <p:nvSpPr>
            <p:cNvPr id="60" name="Cloud Callout 7">
              <a:extLst>
                <a:ext uri="{FF2B5EF4-FFF2-40B4-BE49-F238E27FC236}">
                  <a16:creationId xmlns:a16="http://schemas.microsoft.com/office/drawing/2014/main" id="{2B939100-BD2E-442F-A29E-A9EE002D1E22}"/>
                </a:ext>
              </a:extLst>
            </p:cNvPr>
            <p:cNvSpPr/>
            <p:nvPr/>
          </p:nvSpPr>
          <p:spPr>
            <a:xfrm flipH="1" flipV="1">
              <a:off x="1732474" y="305840"/>
              <a:ext cx="5478762" cy="4180756"/>
            </a:xfrm>
            <a:prstGeom prst="cloudCallout">
              <a:avLst>
                <a:gd name="adj1" fmla="val -74833"/>
                <a:gd name="adj2" fmla="val -23252"/>
              </a:avLst>
            </a:prstGeom>
            <a:solidFill>
              <a:schemeClr val="bg1"/>
            </a:solidFill>
            <a:ln w="38100">
              <a:solidFill>
                <a:schemeClr val="tx1"/>
              </a:solidFill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1" name="Graphic 60" descr="Question mark">
              <a:extLst>
                <a:ext uri="{FF2B5EF4-FFF2-40B4-BE49-F238E27FC236}">
                  <a16:creationId xmlns:a16="http://schemas.microsoft.com/office/drawing/2014/main" id="{676C161E-18C5-4EDE-BC2E-1601FBF4F8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19647755">
              <a:off x="2970659" y="1289688"/>
              <a:ext cx="1217066" cy="1217066"/>
            </a:xfrm>
            <a:prstGeom prst="rect">
              <a:avLst/>
            </a:prstGeom>
          </p:spPr>
        </p:pic>
        <p:pic>
          <p:nvPicPr>
            <p:cNvPr id="62" name="Graphic 61" descr="Confused person">
              <a:extLst>
                <a:ext uri="{FF2B5EF4-FFF2-40B4-BE49-F238E27FC236}">
                  <a16:creationId xmlns:a16="http://schemas.microsoft.com/office/drawing/2014/main" id="{C8AB65BF-6048-4CD4-BF3A-A26EF4A6AF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528557" y="2166327"/>
              <a:ext cx="1781907" cy="1781907"/>
            </a:xfrm>
            <a:prstGeom prst="rect">
              <a:avLst/>
            </a:prstGeom>
          </p:spPr>
        </p:pic>
        <p:pic>
          <p:nvPicPr>
            <p:cNvPr id="63" name="Graphic 62" descr="Question mark">
              <a:extLst>
                <a:ext uri="{FF2B5EF4-FFF2-40B4-BE49-F238E27FC236}">
                  <a16:creationId xmlns:a16="http://schemas.microsoft.com/office/drawing/2014/main" id="{790DD33A-FD7B-46F8-8D32-671E7D4F3E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835876" y="862281"/>
              <a:ext cx="1217066" cy="1217066"/>
            </a:xfrm>
            <a:prstGeom prst="rect">
              <a:avLst/>
            </a:prstGeom>
          </p:spPr>
        </p:pic>
        <p:pic>
          <p:nvPicPr>
            <p:cNvPr id="64" name="Graphic 63" descr="Question mark">
              <a:extLst>
                <a:ext uri="{FF2B5EF4-FFF2-40B4-BE49-F238E27FC236}">
                  <a16:creationId xmlns:a16="http://schemas.microsoft.com/office/drawing/2014/main" id="{112A2953-1900-4903-9B3F-2001E8218C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2039058">
              <a:off x="4630082" y="1321531"/>
              <a:ext cx="1217066" cy="1217066"/>
            </a:xfrm>
            <a:prstGeom prst="rect">
              <a:avLst/>
            </a:prstGeom>
          </p:spPr>
        </p:pic>
      </p:grpSp>
      <p:pic>
        <p:nvPicPr>
          <p:cNvPr id="65" name="Graphic 64" descr="Protecting hand">
            <a:extLst>
              <a:ext uri="{FF2B5EF4-FFF2-40B4-BE49-F238E27FC236}">
                <a16:creationId xmlns:a16="http://schemas.microsoft.com/office/drawing/2014/main" id="{BE617F26-A0A1-465A-97E3-4B4683F1C06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5400000">
            <a:off x="10349909" y="36978"/>
            <a:ext cx="6766792" cy="676679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9459CB3-5C96-4A65-BACA-7C7044CE500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sp>
        <p:nvSpPr>
          <p:cNvPr id="20" name="Arc 19">
            <a:extLst>
              <a:ext uri="{FF2B5EF4-FFF2-40B4-BE49-F238E27FC236}">
                <a16:creationId xmlns:a16="http://schemas.microsoft.com/office/drawing/2014/main" id="{A23A5A3F-E150-48B1-A2EE-CD32D128879A}"/>
              </a:ext>
            </a:extLst>
          </p:cNvPr>
          <p:cNvSpPr/>
          <p:nvPr/>
        </p:nvSpPr>
        <p:spPr>
          <a:xfrm rot="18887904">
            <a:off x="89221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6915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phic 16">
            <a:extLst>
              <a:ext uri="{FF2B5EF4-FFF2-40B4-BE49-F238E27FC236}">
                <a16:creationId xmlns:a16="http://schemas.microsoft.com/office/drawing/2014/main" id="{2F606D26-F79F-4D99-B07C-3C3AAF0FA7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8324" y="245035"/>
            <a:ext cx="7634465" cy="700996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124EB5F-3FAA-451C-A6A9-3984A075296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9998" y="1777644"/>
            <a:ext cx="6265378" cy="3126765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DF757115-A928-49BE-8D6A-23E4CA4FE65C}"/>
              </a:ext>
            </a:extLst>
          </p:cNvPr>
          <p:cNvSpPr txBox="1"/>
          <p:nvPr/>
        </p:nvSpPr>
        <p:spPr>
          <a:xfrm>
            <a:off x="2054389" y="3383280"/>
            <a:ext cx="24608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kurzarbeit</a:t>
            </a:r>
            <a:r>
              <a:rPr lang="en-US" dirty="0"/>
              <a:t> </a:t>
            </a:r>
            <a:r>
              <a:rPr lang="en-US" dirty="0" err="1"/>
              <a:t>schweiz</a:t>
            </a:r>
            <a:endParaRPr lang="en-US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7EEC70DF-5C76-4CFC-90E1-2E6B632301A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9692944">
            <a:off x="527072" y="788194"/>
            <a:ext cx="5170598" cy="24524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AB118F61-2A5F-4601-B3AB-E741F63D540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859549">
            <a:off x="3072752" y="907389"/>
            <a:ext cx="5170598" cy="245346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8F973880-2FBA-470B-9955-0BF6ADFF257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20434496">
            <a:off x="581685" y="2812936"/>
            <a:ext cx="5170598" cy="240864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920D0F61-3E97-4277-AFED-BAD6FF75D0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273820">
            <a:off x="2160331" y="2866424"/>
            <a:ext cx="5687658" cy="2858753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459D8228-04A2-4A25-977B-C470D66E3DD9}"/>
              </a:ext>
            </a:extLst>
          </p:cNvPr>
          <p:cNvGrpSpPr/>
          <p:nvPr/>
        </p:nvGrpSpPr>
        <p:grpSpPr>
          <a:xfrm>
            <a:off x="1732474" y="305840"/>
            <a:ext cx="5478762" cy="4180756"/>
            <a:chOff x="1732474" y="305840"/>
            <a:chExt cx="5478762" cy="4180756"/>
          </a:xfrm>
        </p:grpSpPr>
        <p:sp>
          <p:nvSpPr>
            <p:cNvPr id="60" name="Cloud Callout 7">
              <a:extLst>
                <a:ext uri="{FF2B5EF4-FFF2-40B4-BE49-F238E27FC236}">
                  <a16:creationId xmlns:a16="http://schemas.microsoft.com/office/drawing/2014/main" id="{2B939100-BD2E-442F-A29E-A9EE002D1E22}"/>
                </a:ext>
              </a:extLst>
            </p:cNvPr>
            <p:cNvSpPr/>
            <p:nvPr/>
          </p:nvSpPr>
          <p:spPr>
            <a:xfrm flipH="1" flipV="1">
              <a:off x="1732474" y="305840"/>
              <a:ext cx="5478762" cy="4180756"/>
            </a:xfrm>
            <a:prstGeom prst="cloudCallout">
              <a:avLst>
                <a:gd name="adj1" fmla="val -74833"/>
                <a:gd name="adj2" fmla="val -23252"/>
              </a:avLst>
            </a:prstGeom>
            <a:solidFill>
              <a:schemeClr val="bg1"/>
            </a:solidFill>
            <a:ln w="38100">
              <a:solidFill>
                <a:schemeClr val="tx1"/>
              </a:solidFill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1" name="Graphic 60" descr="Question mark">
              <a:extLst>
                <a:ext uri="{FF2B5EF4-FFF2-40B4-BE49-F238E27FC236}">
                  <a16:creationId xmlns:a16="http://schemas.microsoft.com/office/drawing/2014/main" id="{676C161E-18C5-4EDE-BC2E-1601FBF4F8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19647755">
              <a:off x="2970659" y="1289688"/>
              <a:ext cx="1217066" cy="1217066"/>
            </a:xfrm>
            <a:prstGeom prst="rect">
              <a:avLst/>
            </a:prstGeom>
          </p:spPr>
        </p:pic>
        <p:pic>
          <p:nvPicPr>
            <p:cNvPr id="62" name="Graphic 61" descr="Confused person">
              <a:extLst>
                <a:ext uri="{FF2B5EF4-FFF2-40B4-BE49-F238E27FC236}">
                  <a16:creationId xmlns:a16="http://schemas.microsoft.com/office/drawing/2014/main" id="{C8AB65BF-6048-4CD4-BF3A-A26EF4A6AF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528557" y="2166327"/>
              <a:ext cx="1781907" cy="1781907"/>
            </a:xfrm>
            <a:prstGeom prst="rect">
              <a:avLst/>
            </a:prstGeom>
          </p:spPr>
        </p:pic>
        <p:pic>
          <p:nvPicPr>
            <p:cNvPr id="63" name="Graphic 62" descr="Question mark">
              <a:extLst>
                <a:ext uri="{FF2B5EF4-FFF2-40B4-BE49-F238E27FC236}">
                  <a16:creationId xmlns:a16="http://schemas.microsoft.com/office/drawing/2014/main" id="{790DD33A-FD7B-46F8-8D32-671E7D4F3E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835876" y="862281"/>
              <a:ext cx="1217066" cy="1217066"/>
            </a:xfrm>
            <a:prstGeom prst="rect">
              <a:avLst/>
            </a:prstGeom>
          </p:spPr>
        </p:pic>
        <p:pic>
          <p:nvPicPr>
            <p:cNvPr id="64" name="Graphic 63" descr="Question mark">
              <a:extLst>
                <a:ext uri="{FF2B5EF4-FFF2-40B4-BE49-F238E27FC236}">
                  <a16:creationId xmlns:a16="http://schemas.microsoft.com/office/drawing/2014/main" id="{112A2953-1900-4903-9B3F-2001E8218C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2039058">
              <a:off x="4630082" y="1321531"/>
              <a:ext cx="1217066" cy="1217066"/>
            </a:xfrm>
            <a:prstGeom prst="rect">
              <a:avLst/>
            </a:prstGeom>
          </p:spPr>
        </p:pic>
      </p:grpSp>
      <p:pic>
        <p:nvPicPr>
          <p:cNvPr id="65" name="Graphic 64" descr="Protecting hand">
            <a:extLst>
              <a:ext uri="{FF2B5EF4-FFF2-40B4-BE49-F238E27FC236}">
                <a16:creationId xmlns:a16="http://schemas.microsoft.com/office/drawing/2014/main" id="{BE617F26-A0A1-465A-97E3-4B4683F1C06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5400000">
            <a:off x="10349909" y="36978"/>
            <a:ext cx="6766792" cy="676679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9459CB3-5C96-4A65-BACA-7C7044CE500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sp>
        <p:nvSpPr>
          <p:cNvPr id="20" name="Arc 19">
            <a:extLst>
              <a:ext uri="{FF2B5EF4-FFF2-40B4-BE49-F238E27FC236}">
                <a16:creationId xmlns:a16="http://schemas.microsoft.com/office/drawing/2014/main" id="{A23A5A3F-E150-48B1-A2EE-CD32D128879A}"/>
              </a:ext>
            </a:extLst>
          </p:cNvPr>
          <p:cNvSpPr/>
          <p:nvPr/>
        </p:nvSpPr>
        <p:spPr>
          <a:xfrm rot="18887904">
            <a:off x="89221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710EBC3-536C-4340-B5ED-D9326AC45BA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E9735A4-F9C5-4D7C-A853-29BAA905A37C}"/>
              </a:ext>
            </a:extLst>
          </p:cNvPr>
          <p:cNvSpPr txBox="1"/>
          <p:nvPr/>
        </p:nvSpPr>
        <p:spPr>
          <a:xfrm>
            <a:off x="694721" y="391702"/>
            <a:ext cx="91574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0" dirty="0">
                <a:latin typeface="Bahnschrift" panose="020B0502040204020203" pitchFamily="34" charset="0"/>
              </a:rPr>
              <a:t>Numbers on </a:t>
            </a:r>
            <a:r>
              <a:rPr lang="de-DE" sz="6000" dirty="0" err="1">
                <a:latin typeface="Bahnschrift" panose="020B0502040204020203" pitchFamily="34" charset="0"/>
              </a:rPr>
              <a:t>the</a:t>
            </a:r>
            <a:r>
              <a:rPr lang="de-DE" sz="6000" dirty="0">
                <a:latin typeface="Bahnschrift" panose="020B0502040204020203" pitchFamily="34" charset="0"/>
              </a:rPr>
              <a:t> Crisis</a:t>
            </a:r>
            <a:endParaRPr lang="en-US" sz="6000" b="1" dirty="0">
              <a:latin typeface="Bahnschrift" panose="020B0502040204020203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DAEBC5F-ED30-409C-BB7E-1D3C8A224C75}"/>
              </a:ext>
            </a:extLst>
          </p:cNvPr>
          <p:cNvSpPr/>
          <p:nvPr/>
        </p:nvSpPr>
        <p:spPr>
          <a:xfrm>
            <a:off x="818113" y="3736765"/>
            <a:ext cx="2916767" cy="85621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337AAD5-09C7-4CDD-8B73-50DE1F808523}"/>
              </a:ext>
            </a:extLst>
          </p:cNvPr>
          <p:cNvSpPr/>
          <p:nvPr/>
        </p:nvSpPr>
        <p:spPr>
          <a:xfrm>
            <a:off x="4637617" y="3736765"/>
            <a:ext cx="2916767" cy="85621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38F134F-49EA-4510-A3F4-2E4DB9FFB308}"/>
              </a:ext>
            </a:extLst>
          </p:cNvPr>
          <p:cNvSpPr/>
          <p:nvPr/>
        </p:nvSpPr>
        <p:spPr>
          <a:xfrm>
            <a:off x="8457121" y="3736765"/>
            <a:ext cx="2916767" cy="85621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26278AC-3BB0-4A04-857F-80CF7CDBDA00}"/>
              </a:ext>
            </a:extLst>
          </p:cNvPr>
          <p:cNvSpPr txBox="1"/>
          <p:nvPr/>
        </p:nvSpPr>
        <p:spPr>
          <a:xfrm>
            <a:off x="693543" y="2799449"/>
            <a:ext cx="32096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600" dirty="0">
                <a:latin typeface="Bahnschrift" panose="020B0502040204020203" pitchFamily="34" charset="0"/>
              </a:rPr>
              <a:t>1 </a:t>
            </a:r>
            <a:r>
              <a:rPr lang="de-DE" sz="9600" dirty="0" err="1">
                <a:latin typeface="Bahnschrift" panose="020B0502040204020203" pitchFamily="34" charset="0"/>
              </a:rPr>
              <a:t>mio</a:t>
            </a:r>
            <a:endParaRPr lang="en-US" sz="9600" dirty="0">
              <a:latin typeface="Bahnschrift" panose="020B050204020402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465E7A5-16A3-46E6-92AC-9FEACF9FEF78}"/>
              </a:ext>
            </a:extLst>
          </p:cNvPr>
          <p:cNvSpPr txBox="1"/>
          <p:nvPr/>
        </p:nvSpPr>
        <p:spPr>
          <a:xfrm>
            <a:off x="4547145" y="2799449"/>
            <a:ext cx="32096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600" dirty="0">
                <a:latin typeface="Bahnschrift" panose="020B0502040204020203" pitchFamily="34" charset="0"/>
              </a:rPr>
              <a:t>25%</a:t>
            </a:r>
            <a:endParaRPr lang="en-US" sz="9600" dirty="0">
              <a:latin typeface="Bahnschrift" panose="020B05020402040202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AFB311F-FCF6-4B06-839A-EE23DF2C885A}"/>
              </a:ext>
            </a:extLst>
          </p:cNvPr>
          <p:cNvSpPr txBox="1"/>
          <p:nvPr/>
        </p:nvSpPr>
        <p:spPr>
          <a:xfrm>
            <a:off x="8233107" y="2799449"/>
            <a:ext cx="32096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600" dirty="0" err="1">
                <a:latin typeface="Bahnschrift" panose="020B0502040204020203" pitchFamily="34" charset="0"/>
              </a:rPr>
              <a:t>xyz</a:t>
            </a:r>
            <a:endParaRPr lang="en-US" sz="9600" dirty="0">
              <a:latin typeface="Bahnschrift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49B91AC-B9B9-4619-A492-675479A19117}"/>
              </a:ext>
            </a:extLst>
          </p:cNvPr>
          <p:cNvSpPr txBox="1"/>
          <p:nvPr/>
        </p:nvSpPr>
        <p:spPr>
          <a:xfrm>
            <a:off x="380661" y="2356962"/>
            <a:ext cx="3530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b="1" dirty="0">
                <a:latin typeface="Bahnschrift" panose="020B0502040204020203" pitchFamily="34" charset="0"/>
              </a:rPr>
              <a:t>Bad </a:t>
            </a:r>
            <a:r>
              <a:rPr lang="de-DE" sz="2800" b="1" dirty="0" err="1">
                <a:latin typeface="Bahnschrift" panose="020B0502040204020203" pitchFamily="34" charset="0"/>
              </a:rPr>
              <a:t>number</a:t>
            </a:r>
            <a:endParaRPr lang="en-US" sz="2800" b="1" dirty="0">
              <a:latin typeface="Bahnschrift" panose="020B05020402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2775D0-0982-439A-86FC-39127123F0CA}"/>
              </a:ext>
            </a:extLst>
          </p:cNvPr>
          <p:cNvSpPr txBox="1"/>
          <p:nvPr/>
        </p:nvSpPr>
        <p:spPr>
          <a:xfrm>
            <a:off x="4288320" y="2356962"/>
            <a:ext cx="3530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b="1" dirty="0" err="1">
                <a:latin typeface="Bahnschrift" panose="020B0502040204020203" pitchFamily="34" charset="0"/>
              </a:rPr>
              <a:t>Fraction</a:t>
            </a:r>
            <a:r>
              <a:rPr lang="de-DE" sz="2800" b="1" dirty="0">
                <a:latin typeface="Bahnschrift" panose="020B0502040204020203" pitchFamily="34" charset="0"/>
              </a:rPr>
              <a:t> of </a:t>
            </a:r>
            <a:r>
              <a:rPr lang="de-DE" sz="2800" b="1" dirty="0" err="1">
                <a:latin typeface="Bahnschrift" panose="020B0502040204020203" pitchFamily="34" charset="0"/>
              </a:rPr>
              <a:t>empl</a:t>
            </a:r>
            <a:endParaRPr lang="en-US" sz="2800" b="1" dirty="0">
              <a:latin typeface="Bahnschrift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F7374BA-A78C-429B-B6B6-3EB55FE86165}"/>
              </a:ext>
            </a:extLst>
          </p:cNvPr>
          <p:cNvSpPr txBox="1"/>
          <p:nvPr/>
        </p:nvSpPr>
        <p:spPr>
          <a:xfrm>
            <a:off x="8195979" y="2356962"/>
            <a:ext cx="3530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b="1" dirty="0">
                <a:latin typeface="Bahnschrift" panose="020B0502040204020203" pitchFamily="34" charset="0"/>
              </a:rPr>
              <a:t>Daily </a:t>
            </a:r>
            <a:r>
              <a:rPr lang="de-DE" sz="2800" b="1" dirty="0" err="1">
                <a:latin typeface="Bahnschrift" panose="020B0502040204020203" pitchFamily="34" charset="0"/>
              </a:rPr>
              <a:t>applications</a:t>
            </a:r>
            <a:endParaRPr lang="en-US" sz="2800" b="1" dirty="0">
              <a:latin typeface="Bahnschrift" panose="020B0502040204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8BF12E3-CCFE-4675-A195-D265F7FB0BD9}"/>
              </a:ext>
            </a:extLst>
          </p:cNvPr>
          <p:cNvSpPr txBox="1"/>
          <p:nvPr/>
        </p:nvSpPr>
        <p:spPr>
          <a:xfrm>
            <a:off x="319701" y="4750299"/>
            <a:ext cx="3530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err="1">
                <a:latin typeface="Bahnschrift" panose="020B0502040204020203" pitchFamily="34" charset="0"/>
              </a:rPr>
              <a:t>Some</a:t>
            </a:r>
            <a:r>
              <a:rPr lang="de-DE" sz="2400" dirty="0">
                <a:latin typeface="Bahnschrift" panose="020B0502040204020203" pitchFamily="34" charset="0"/>
              </a:rPr>
              <a:t> </a:t>
            </a:r>
            <a:r>
              <a:rPr lang="de-DE" sz="2400" dirty="0" err="1">
                <a:latin typeface="Bahnschrift" panose="020B0502040204020203" pitchFamily="34" charset="0"/>
              </a:rPr>
              <a:t>information</a:t>
            </a:r>
            <a:endParaRPr lang="de-DE" sz="2400" dirty="0">
              <a:latin typeface="Bahnschrift" panose="020B0502040204020203" pitchFamily="34" charset="0"/>
            </a:endParaRPr>
          </a:p>
          <a:p>
            <a:pPr algn="ctr"/>
            <a:r>
              <a:rPr lang="de-DE" sz="2400" dirty="0">
                <a:latin typeface="Bahnschrift" panose="020B0502040204020203" pitchFamily="34" charset="0"/>
              </a:rPr>
              <a:t>More </a:t>
            </a:r>
            <a:r>
              <a:rPr lang="de-DE" sz="2400" dirty="0" err="1">
                <a:latin typeface="Bahnschrift" panose="020B0502040204020203" pitchFamily="34" charset="0"/>
              </a:rPr>
              <a:t>information</a:t>
            </a:r>
            <a:endParaRPr lang="en-US" sz="2400" dirty="0">
              <a:latin typeface="Bahnschrift" panose="020B05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1D0A76A-508A-4616-A016-8F11279DFD66}"/>
              </a:ext>
            </a:extLst>
          </p:cNvPr>
          <p:cNvSpPr txBox="1"/>
          <p:nvPr/>
        </p:nvSpPr>
        <p:spPr>
          <a:xfrm>
            <a:off x="4227360" y="4750299"/>
            <a:ext cx="3530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err="1">
                <a:latin typeface="Bahnschrift" panose="020B0502040204020203" pitchFamily="34" charset="0"/>
              </a:rPr>
              <a:t>Some</a:t>
            </a:r>
            <a:r>
              <a:rPr lang="de-DE" sz="2400" dirty="0">
                <a:latin typeface="Bahnschrift" panose="020B0502040204020203" pitchFamily="34" charset="0"/>
              </a:rPr>
              <a:t> </a:t>
            </a:r>
            <a:r>
              <a:rPr lang="de-DE" sz="2400" dirty="0" err="1">
                <a:latin typeface="Bahnschrift" panose="020B0502040204020203" pitchFamily="34" charset="0"/>
              </a:rPr>
              <a:t>information</a:t>
            </a:r>
            <a:endParaRPr lang="de-DE" sz="2400" dirty="0">
              <a:latin typeface="Bahnschrift" panose="020B0502040204020203" pitchFamily="34" charset="0"/>
            </a:endParaRPr>
          </a:p>
          <a:p>
            <a:pPr algn="ctr"/>
            <a:r>
              <a:rPr lang="de-DE" sz="2400" dirty="0">
                <a:latin typeface="Bahnschrift" panose="020B0502040204020203" pitchFamily="34" charset="0"/>
              </a:rPr>
              <a:t>More </a:t>
            </a:r>
            <a:r>
              <a:rPr lang="de-DE" sz="2400" dirty="0" err="1">
                <a:latin typeface="Bahnschrift" panose="020B0502040204020203" pitchFamily="34" charset="0"/>
              </a:rPr>
              <a:t>information</a:t>
            </a:r>
            <a:endParaRPr lang="en-US" sz="2400" dirty="0">
              <a:latin typeface="Bahnschrift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53C5616-F897-4AE1-A2F6-5C8B7318031F}"/>
              </a:ext>
            </a:extLst>
          </p:cNvPr>
          <p:cNvSpPr txBox="1"/>
          <p:nvPr/>
        </p:nvSpPr>
        <p:spPr>
          <a:xfrm>
            <a:off x="8135019" y="4750299"/>
            <a:ext cx="3530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err="1">
                <a:latin typeface="Bahnschrift" panose="020B0502040204020203" pitchFamily="34" charset="0"/>
              </a:rPr>
              <a:t>Some</a:t>
            </a:r>
            <a:r>
              <a:rPr lang="de-DE" sz="2400" dirty="0">
                <a:latin typeface="Bahnschrift" panose="020B0502040204020203" pitchFamily="34" charset="0"/>
              </a:rPr>
              <a:t> </a:t>
            </a:r>
            <a:r>
              <a:rPr lang="de-DE" sz="2400" dirty="0" err="1">
                <a:latin typeface="Bahnschrift" panose="020B0502040204020203" pitchFamily="34" charset="0"/>
              </a:rPr>
              <a:t>information</a:t>
            </a:r>
            <a:endParaRPr lang="de-DE" sz="2400" dirty="0">
              <a:latin typeface="Bahnschrift" panose="020B0502040204020203" pitchFamily="34" charset="0"/>
            </a:endParaRPr>
          </a:p>
          <a:p>
            <a:pPr algn="ctr"/>
            <a:r>
              <a:rPr lang="de-DE" sz="2400" dirty="0">
                <a:latin typeface="Bahnschrift" panose="020B0502040204020203" pitchFamily="34" charset="0"/>
              </a:rPr>
              <a:t>More </a:t>
            </a:r>
            <a:r>
              <a:rPr lang="de-DE" sz="2400" dirty="0" err="1">
                <a:latin typeface="Bahnschrift" panose="020B0502040204020203" pitchFamily="34" charset="0"/>
              </a:rPr>
              <a:t>information</a:t>
            </a:r>
            <a:endParaRPr lang="en-US" sz="2400" dirty="0"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2945556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4146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phic 16">
            <a:extLst>
              <a:ext uri="{FF2B5EF4-FFF2-40B4-BE49-F238E27FC236}">
                <a16:creationId xmlns:a16="http://schemas.microsoft.com/office/drawing/2014/main" id="{2F606D26-F79F-4D99-B07C-3C3AAF0FA7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8324" y="245035"/>
            <a:ext cx="7634465" cy="700996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AEA6332-D22E-4BD9-9E7F-ADE97AFC2F2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sp>
        <p:nvSpPr>
          <p:cNvPr id="20" name="Arc 19">
            <a:extLst>
              <a:ext uri="{FF2B5EF4-FFF2-40B4-BE49-F238E27FC236}">
                <a16:creationId xmlns:a16="http://schemas.microsoft.com/office/drawing/2014/main" id="{30C82555-0CE0-4778-B13E-4A3ACC0A79EC}"/>
              </a:ext>
            </a:extLst>
          </p:cNvPr>
          <p:cNvSpPr/>
          <p:nvPr/>
        </p:nvSpPr>
        <p:spPr>
          <a:xfrm rot="18887904">
            <a:off x="89221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124EB5F-3FAA-451C-A6A9-3984A075296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69998" y="1777644"/>
            <a:ext cx="6265378" cy="3126765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DF757115-A928-49BE-8D6A-23E4CA4FE65C}"/>
              </a:ext>
            </a:extLst>
          </p:cNvPr>
          <p:cNvSpPr txBox="1"/>
          <p:nvPr/>
        </p:nvSpPr>
        <p:spPr>
          <a:xfrm>
            <a:off x="2054389" y="3383280"/>
            <a:ext cx="24608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kurzarbeit</a:t>
            </a:r>
            <a:r>
              <a:rPr lang="en-US" dirty="0"/>
              <a:t> </a:t>
            </a:r>
            <a:r>
              <a:rPr lang="en-US" dirty="0" err="1"/>
              <a:t>schweiz</a:t>
            </a:r>
            <a:endParaRPr lang="en-US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7EEC70DF-5C76-4CFC-90E1-2E6B632301A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9692944">
            <a:off x="527072" y="788194"/>
            <a:ext cx="5170598" cy="24524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AB118F61-2A5F-4601-B3AB-E741F63D540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859549">
            <a:off x="3072752" y="907389"/>
            <a:ext cx="5170598" cy="245346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8F973880-2FBA-470B-9955-0BF6ADFF257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20434496">
            <a:off x="581685" y="2812936"/>
            <a:ext cx="5170598" cy="240864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920D0F61-3E97-4277-AFED-BAD6FF75D0F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1273820">
            <a:off x="2160331" y="2866424"/>
            <a:ext cx="5687658" cy="2858753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459D8228-04A2-4A25-977B-C470D66E3DD9}"/>
              </a:ext>
            </a:extLst>
          </p:cNvPr>
          <p:cNvGrpSpPr/>
          <p:nvPr/>
        </p:nvGrpSpPr>
        <p:grpSpPr>
          <a:xfrm>
            <a:off x="1732474" y="305840"/>
            <a:ext cx="5478762" cy="4180756"/>
            <a:chOff x="1732474" y="305840"/>
            <a:chExt cx="5478762" cy="4180756"/>
          </a:xfrm>
        </p:grpSpPr>
        <p:sp>
          <p:nvSpPr>
            <p:cNvPr id="60" name="Cloud Callout 7">
              <a:extLst>
                <a:ext uri="{FF2B5EF4-FFF2-40B4-BE49-F238E27FC236}">
                  <a16:creationId xmlns:a16="http://schemas.microsoft.com/office/drawing/2014/main" id="{2B939100-BD2E-442F-A29E-A9EE002D1E22}"/>
                </a:ext>
              </a:extLst>
            </p:cNvPr>
            <p:cNvSpPr/>
            <p:nvPr/>
          </p:nvSpPr>
          <p:spPr>
            <a:xfrm flipH="1" flipV="1">
              <a:off x="1732474" y="305840"/>
              <a:ext cx="5478762" cy="4180756"/>
            </a:xfrm>
            <a:prstGeom prst="cloudCallout">
              <a:avLst>
                <a:gd name="adj1" fmla="val -74833"/>
                <a:gd name="adj2" fmla="val -23252"/>
              </a:avLst>
            </a:prstGeom>
            <a:solidFill>
              <a:schemeClr val="bg1"/>
            </a:solidFill>
            <a:ln w="38100">
              <a:solidFill>
                <a:schemeClr val="tx1"/>
              </a:solidFill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1" name="Graphic 60" descr="Question mark">
              <a:extLst>
                <a:ext uri="{FF2B5EF4-FFF2-40B4-BE49-F238E27FC236}">
                  <a16:creationId xmlns:a16="http://schemas.microsoft.com/office/drawing/2014/main" id="{676C161E-18C5-4EDE-BC2E-1601FBF4F8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19647755">
              <a:off x="2970659" y="1289688"/>
              <a:ext cx="1217066" cy="1217066"/>
            </a:xfrm>
            <a:prstGeom prst="rect">
              <a:avLst/>
            </a:prstGeom>
          </p:spPr>
        </p:pic>
        <p:pic>
          <p:nvPicPr>
            <p:cNvPr id="62" name="Graphic 61" descr="Confused person">
              <a:extLst>
                <a:ext uri="{FF2B5EF4-FFF2-40B4-BE49-F238E27FC236}">
                  <a16:creationId xmlns:a16="http://schemas.microsoft.com/office/drawing/2014/main" id="{C8AB65BF-6048-4CD4-BF3A-A26EF4A6AF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528557" y="2166327"/>
              <a:ext cx="1781907" cy="1781907"/>
            </a:xfrm>
            <a:prstGeom prst="rect">
              <a:avLst/>
            </a:prstGeom>
          </p:spPr>
        </p:pic>
        <p:pic>
          <p:nvPicPr>
            <p:cNvPr id="63" name="Graphic 62" descr="Question mark">
              <a:extLst>
                <a:ext uri="{FF2B5EF4-FFF2-40B4-BE49-F238E27FC236}">
                  <a16:creationId xmlns:a16="http://schemas.microsoft.com/office/drawing/2014/main" id="{790DD33A-FD7B-46F8-8D32-671E7D4F3E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835876" y="862281"/>
              <a:ext cx="1217066" cy="1217066"/>
            </a:xfrm>
            <a:prstGeom prst="rect">
              <a:avLst/>
            </a:prstGeom>
          </p:spPr>
        </p:pic>
        <p:pic>
          <p:nvPicPr>
            <p:cNvPr id="64" name="Graphic 63" descr="Question mark">
              <a:extLst>
                <a:ext uri="{FF2B5EF4-FFF2-40B4-BE49-F238E27FC236}">
                  <a16:creationId xmlns:a16="http://schemas.microsoft.com/office/drawing/2014/main" id="{112A2953-1900-4903-9B3F-2001E8218C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2039058">
              <a:off x="4630082" y="1321531"/>
              <a:ext cx="1217066" cy="1217066"/>
            </a:xfrm>
            <a:prstGeom prst="rect">
              <a:avLst/>
            </a:prstGeom>
          </p:spPr>
        </p:pic>
      </p:grpSp>
      <p:pic>
        <p:nvPicPr>
          <p:cNvPr id="10" name="Graphic 9" descr="Protecting hand">
            <a:extLst>
              <a:ext uri="{FF2B5EF4-FFF2-40B4-BE49-F238E27FC236}">
                <a16:creationId xmlns:a16="http://schemas.microsoft.com/office/drawing/2014/main" id="{8BFE1F0C-74B2-4CE2-A35B-84C8ADA0A4F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5400000">
            <a:off x="4660309" y="36978"/>
            <a:ext cx="6766792" cy="6766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7152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advClick="0" advTm="200">
        <p159:morph option="byObject"/>
      </p:transition>
    </mc:Choice>
    <mc:Fallback xmlns="">
      <p:transition advClick="0" advTm="200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phic 16">
            <a:extLst>
              <a:ext uri="{FF2B5EF4-FFF2-40B4-BE49-F238E27FC236}">
                <a16:creationId xmlns:a16="http://schemas.microsoft.com/office/drawing/2014/main" id="{2F606D26-F79F-4D99-B07C-3C3AAF0FA7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8324" y="245035"/>
            <a:ext cx="7634465" cy="70099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CD8122E-8A66-4F65-9740-7DC1B59991AD}"/>
              </a:ext>
            </a:extLst>
          </p:cNvPr>
          <p:cNvSpPr/>
          <p:nvPr/>
        </p:nvSpPr>
        <p:spPr>
          <a:xfrm>
            <a:off x="1077139" y="896731"/>
            <a:ext cx="6446520" cy="440740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124EB5F-3FAA-451C-A6A9-3984A075296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8634765" y="1586839"/>
            <a:ext cx="6265378" cy="3126765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DF757115-A928-49BE-8D6A-23E4CA4FE65C}"/>
              </a:ext>
            </a:extLst>
          </p:cNvPr>
          <p:cNvSpPr txBox="1"/>
          <p:nvPr/>
        </p:nvSpPr>
        <p:spPr>
          <a:xfrm>
            <a:off x="-7750374" y="3192475"/>
            <a:ext cx="24608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kurzarbeit</a:t>
            </a:r>
            <a:r>
              <a:rPr lang="en-US" dirty="0"/>
              <a:t> </a:t>
            </a:r>
            <a:r>
              <a:rPr lang="en-US" dirty="0" err="1"/>
              <a:t>schweiz</a:t>
            </a:r>
            <a:endParaRPr lang="en-US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7EEC70DF-5C76-4CFC-90E1-2E6B632301A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9692944">
            <a:off x="-9277691" y="597389"/>
            <a:ext cx="5170598" cy="24524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AB118F61-2A5F-4601-B3AB-E741F63D540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859549">
            <a:off x="-6732011" y="716584"/>
            <a:ext cx="5170598" cy="245346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8F973880-2FBA-470B-9955-0BF6ADFF257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20434496">
            <a:off x="-9223078" y="2622131"/>
            <a:ext cx="5170598" cy="240864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920D0F61-3E97-4277-AFED-BAD6FF75D0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273820">
            <a:off x="-7644432" y="2675619"/>
            <a:ext cx="5687658" cy="2858753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459D8228-04A2-4A25-977B-C470D66E3DD9}"/>
              </a:ext>
            </a:extLst>
          </p:cNvPr>
          <p:cNvGrpSpPr/>
          <p:nvPr/>
        </p:nvGrpSpPr>
        <p:grpSpPr>
          <a:xfrm>
            <a:off x="-8072289" y="115035"/>
            <a:ext cx="5478762" cy="4180756"/>
            <a:chOff x="1732474" y="305840"/>
            <a:chExt cx="5478762" cy="4180756"/>
          </a:xfrm>
        </p:grpSpPr>
        <p:sp>
          <p:nvSpPr>
            <p:cNvPr id="60" name="Cloud Callout 7">
              <a:extLst>
                <a:ext uri="{FF2B5EF4-FFF2-40B4-BE49-F238E27FC236}">
                  <a16:creationId xmlns:a16="http://schemas.microsoft.com/office/drawing/2014/main" id="{2B939100-BD2E-442F-A29E-A9EE002D1E22}"/>
                </a:ext>
              </a:extLst>
            </p:cNvPr>
            <p:cNvSpPr/>
            <p:nvPr/>
          </p:nvSpPr>
          <p:spPr>
            <a:xfrm flipH="1" flipV="1">
              <a:off x="1732474" y="305840"/>
              <a:ext cx="5478762" cy="4180756"/>
            </a:xfrm>
            <a:prstGeom prst="cloudCallout">
              <a:avLst>
                <a:gd name="adj1" fmla="val -74833"/>
                <a:gd name="adj2" fmla="val -23252"/>
              </a:avLst>
            </a:prstGeom>
            <a:solidFill>
              <a:schemeClr val="bg1"/>
            </a:solidFill>
            <a:ln w="38100">
              <a:solidFill>
                <a:schemeClr val="tx1"/>
              </a:solidFill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1" name="Graphic 60" descr="Question mark">
              <a:extLst>
                <a:ext uri="{FF2B5EF4-FFF2-40B4-BE49-F238E27FC236}">
                  <a16:creationId xmlns:a16="http://schemas.microsoft.com/office/drawing/2014/main" id="{676C161E-18C5-4EDE-BC2E-1601FBF4F8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19647755">
              <a:off x="2970659" y="1289688"/>
              <a:ext cx="1217066" cy="1217066"/>
            </a:xfrm>
            <a:prstGeom prst="rect">
              <a:avLst/>
            </a:prstGeom>
          </p:spPr>
        </p:pic>
        <p:pic>
          <p:nvPicPr>
            <p:cNvPr id="62" name="Graphic 61" descr="Confused person">
              <a:extLst>
                <a:ext uri="{FF2B5EF4-FFF2-40B4-BE49-F238E27FC236}">
                  <a16:creationId xmlns:a16="http://schemas.microsoft.com/office/drawing/2014/main" id="{C8AB65BF-6048-4CD4-BF3A-A26EF4A6AF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528557" y="2166327"/>
              <a:ext cx="1781907" cy="1781907"/>
            </a:xfrm>
            <a:prstGeom prst="rect">
              <a:avLst/>
            </a:prstGeom>
          </p:spPr>
        </p:pic>
        <p:pic>
          <p:nvPicPr>
            <p:cNvPr id="63" name="Graphic 62" descr="Question mark">
              <a:extLst>
                <a:ext uri="{FF2B5EF4-FFF2-40B4-BE49-F238E27FC236}">
                  <a16:creationId xmlns:a16="http://schemas.microsoft.com/office/drawing/2014/main" id="{790DD33A-FD7B-46F8-8D32-671E7D4F3E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835876" y="862281"/>
              <a:ext cx="1217066" cy="1217066"/>
            </a:xfrm>
            <a:prstGeom prst="rect">
              <a:avLst/>
            </a:prstGeom>
          </p:spPr>
        </p:pic>
        <p:pic>
          <p:nvPicPr>
            <p:cNvPr id="64" name="Graphic 63" descr="Question mark">
              <a:extLst>
                <a:ext uri="{FF2B5EF4-FFF2-40B4-BE49-F238E27FC236}">
                  <a16:creationId xmlns:a16="http://schemas.microsoft.com/office/drawing/2014/main" id="{112A2953-1900-4903-9B3F-2001E8218C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2039058">
              <a:off x="4630082" y="1321531"/>
              <a:ext cx="1217066" cy="1217066"/>
            </a:xfrm>
            <a:prstGeom prst="rect">
              <a:avLst/>
            </a:prstGeom>
          </p:spPr>
        </p:pic>
      </p:grpSp>
      <p:pic>
        <p:nvPicPr>
          <p:cNvPr id="10" name="Graphic 9" descr="Protecting hand">
            <a:extLst>
              <a:ext uri="{FF2B5EF4-FFF2-40B4-BE49-F238E27FC236}">
                <a16:creationId xmlns:a16="http://schemas.microsoft.com/office/drawing/2014/main" id="{8BFE1F0C-74B2-4CE2-A35B-84C8ADA0A4F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5400000">
            <a:off x="-5144454" y="-153827"/>
            <a:ext cx="6766792" cy="6766792"/>
          </a:xfrm>
          <a:prstGeom prst="rect">
            <a:avLst/>
          </a:prstGeom>
        </p:spPr>
      </p:pic>
      <p:pic>
        <p:nvPicPr>
          <p:cNvPr id="7" name="Picture 6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FC6A73B6-536F-408E-810E-4BE80509132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349" y="974484"/>
            <a:ext cx="2185169" cy="218516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E6CBF3-DE61-4DDF-94B4-4B6B7D9577E7}"/>
              </a:ext>
            </a:extLst>
          </p:cNvPr>
          <p:cNvSpPr txBox="1"/>
          <p:nvPr/>
        </p:nvSpPr>
        <p:spPr>
          <a:xfrm>
            <a:off x="2483154" y="2710984"/>
            <a:ext cx="3530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54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54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E44B59B-3ED7-48E6-8158-CDB2807A237F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2726" y="7392989"/>
            <a:ext cx="1271272" cy="252857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EFA993C-06AE-4570-B2CA-ECFFA2AC8750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218" y="7599648"/>
            <a:ext cx="1016000" cy="22479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1F73522-FD9D-4105-A277-B0A69DAEA92F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5958" y="7429881"/>
            <a:ext cx="1033782" cy="257048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399E373-0444-4898-B407-9C4FF664EEE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828" y="7401941"/>
            <a:ext cx="1536700" cy="262636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5C37F07-6894-412E-BCD2-742DCA4DD1B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A9267A19-E8EA-4B5F-8331-DCFFA4A3464A}"/>
              </a:ext>
            </a:extLst>
          </p:cNvPr>
          <p:cNvSpPr txBox="1"/>
          <p:nvPr/>
        </p:nvSpPr>
        <p:spPr>
          <a:xfrm>
            <a:off x="2435529" y="3577759"/>
            <a:ext cx="353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www.chatbot.com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46759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3372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CD8122E-8A66-4F65-9740-7DC1B59991AD}"/>
              </a:ext>
            </a:extLst>
          </p:cNvPr>
          <p:cNvSpPr/>
          <p:nvPr/>
        </p:nvSpPr>
        <p:spPr>
          <a:xfrm>
            <a:off x="-1" y="1"/>
            <a:ext cx="12192001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9C339A2B-E9C5-462B-9238-6ADDDC5BA5C8}"/>
              </a:ext>
            </a:extLst>
          </p:cNvPr>
          <p:cNvSpPr/>
          <p:nvPr/>
        </p:nvSpPr>
        <p:spPr>
          <a:xfrm>
            <a:off x="4492383" y="1920585"/>
            <a:ext cx="3346933" cy="4589752"/>
          </a:xfrm>
          <a:prstGeom prst="roundRect">
            <a:avLst>
              <a:gd name="adj" fmla="val 12493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E9BB4084-AD3C-4A34-8BF3-9181F332EEB2}"/>
              </a:ext>
            </a:extLst>
          </p:cNvPr>
          <p:cNvSpPr/>
          <p:nvPr/>
        </p:nvSpPr>
        <p:spPr>
          <a:xfrm>
            <a:off x="8315083" y="1933285"/>
            <a:ext cx="3346933" cy="4589752"/>
          </a:xfrm>
          <a:prstGeom prst="roundRect">
            <a:avLst>
              <a:gd name="adj" fmla="val 12493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FC6A73B6-536F-408E-810E-4BE8050913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7" y="117741"/>
            <a:ext cx="1121337" cy="11213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E6CBF3-DE61-4DDF-94B4-4B6B7D9577E7}"/>
              </a:ext>
            </a:extLst>
          </p:cNvPr>
          <p:cNvSpPr txBox="1"/>
          <p:nvPr/>
        </p:nvSpPr>
        <p:spPr>
          <a:xfrm>
            <a:off x="-60960" y="990969"/>
            <a:ext cx="2652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28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A37EED-B076-4C69-81A2-9796745377A6}"/>
              </a:ext>
            </a:extLst>
          </p:cNvPr>
          <p:cNvCxnSpPr/>
          <p:nvPr/>
        </p:nvCxnSpPr>
        <p:spPr>
          <a:xfrm>
            <a:off x="2591632" y="213360"/>
            <a:ext cx="0" cy="14702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B1EAEC94-D35A-41FB-A756-CDF70C92D673}"/>
              </a:ext>
            </a:extLst>
          </p:cNvPr>
          <p:cNvSpPr txBox="1"/>
          <p:nvPr/>
        </p:nvSpPr>
        <p:spPr>
          <a:xfrm>
            <a:off x="2782601" y="498382"/>
            <a:ext cx="91574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Behind </a:t>
            </a:r>
            <a:r>
              <a:rPr lang="de-DE" sz="5400" dirty="0" err="1">
                <a:solidFill>
                  <a:schemeClr val="bg1"/>
                </a:solidFill>
                <a:latin typeface="Bahnschrift" panose="020B0502040204020203" pitchFamily="34" charset="0"/>
              </a:rPr>
              <a:t>the</a:t>
            </a:r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 Scenes</a:t>
            </a:r>
            <a:endParaRPr lang="en-US" sz="54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EE5D0819-2775-444C-8A42-D1ACF76677A8}"/>
              </a:ext>
            </a:extLst>
          </p:cNvPr>
          <p:cNvGrpSpPr/>
          <p:nvPr/>
        </p:nvGrpSpPr>
        <p:grpSpPr>
          <a:xfrm>
            <a:off x="669683" y="1907885"/>
            <a:ext cx="3346933" cy="4589752"/>
            <a:chOff x="669683" y="1907885"/>
            <a:chExt cx="3346933" cy="4589752"/>
          </a:xfrm>
        </p:grpSpPr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D2DC3821-FC00-41A0-8D58-DB9FB83DA8FC}"/>
                </a:ext>
              </a:extLst>
            </p:cNvPr>
            <p:cNvSpPr/>
            <p:nvPr/>
          </p:nvSpPr>
          <p:spPr>
            <a:xfrm>
              <a:off x="669683" y="1907885"/>
              <a:ext cx="3346933" cy="4589752"/>
            </a:xfrm>
            <a:prstGeom prst="roundRect">
              <a:avLst>
                <a:gd name="adj" fmla="val 12493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80359F7-BC9F-4DDB-B848-41042BE92F07}"/>
                </a:ext>
              </a:extLst>
            </p:cNvPr>
            <p:cNvSpPr txBox="1"/>
            <p:nvPr/>
          </p:nvSpPr>
          <p:spPr>
            <a:xfrm>
              <a:off x="914704" y="5235892"/>
              <a:ext cx="2917851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1200"/>
                </a:spcAft>
                <a:buSzPct val="60000"/>
              </a:pPr>
              <a:r>
                <a:rPr lang="de-DE" sz="2000" dirty="0" err="1">
                  <a:solidFill>
                    <a:schemeClr val="bg1"/>
                  </a:solidFill>
                  <a:latin typeface="Bahnschrift" panose="020B0502040204020203" pitchFamily="34" charset="0"/>
                </a:rPr>
                <a:t>Effortlessly</a:t>
              </a:r>
              <a:r>
                <a:rPr lang="de-DE" sz="2000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 </a:t>
              </a:r>
              <a:r>
                <a:rPr lang="de-DE" sz="2000" dirty="0" err="1">
                  <a:solidFill>
                    <a:schemeClr val="bg1"/>
                  </a:solidFill>
                  <a:latin typeface="Bahnschrift" panose="020B0502040204020203" pitchFamily="34" charset="0"/>
                </a:rPr>
                <a:t>scalable</a:t>
              </a:r>
              <a:r>
                <a:rPr lang="de-DE" sz="2000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 </a:t>
              </a:r>
              <a:r>
                <a:rPr lang="de-DE" sz="2000" dirty="0" err="1">
                  <a:solidFill>
                    <a:schemeClr val="bg1"/>
                  </a:solidFill>
                  <a:latin typeface="Bahnschrift" panose="020B0502040204020203" pitchFamily="34" charset="0"/>
                </a:rPr>
                <a:t>cloud</a:t>
              </a:r>
              <a:r>
                <a:rPr lang="de-DE" sz="2000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 </a:t>
              </a:r>
              <a:r>
                <a:rPr lang="de-DE" sz="2000" dirty="0" err="1">
                  <a:solidFill>
                    <a:schemeClr val="bg1"/>
                  </a:solidFill>
                  <a:latin typeface="Bahnschrift" panose="020B0502040204020203" pitchFamily="34" charset="0"/>
                </a:rPr>
                <a:t>solution</a:t>
              </a:r>
              <a:endParaRPr lang="en-US" sz="2000" dirty="0">
                <a:solidFill>
                  <a:schemeClr val="bg1"/>
                </a:solidFill>
                <a:latin typeface="Bahnschrift" panose="020B0502040204020203" pitchFamily="34" charset="0"/>
              </a:endParaRPr>
            </a:p>
            <a:p>
              <a:pPr algn="ctr">
                <a:spcAft>
                  <a:spcPts val="1200"/>
                </a:spcAft>
                <a:buSzPct val="60000"/>
              </a:pPr>
              <a:r>
                <a:rPr lang="de-DE" sz="2000" dirty="0" err="1">
                  <a:solidFill>
                    <a:schemeClr val="bg1"/>
                  </a:solidFill>
                  <a:latin typeface="Bahnschrift" panose="020B0502040204020203" pitchFamily="34" charset="0"/>
                </a:rPr>
                <a:t>Customizable</a:t>
              </a:r>
              <a:r>
                <a:rPr lang="de-DE" sz="2000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 QnA</a:t>
              </a:r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6E0A0B6-8070-471E-8B79-49CC702D2EFA}"/>
                </a:ext>
              </a:extLst>
            </p:cNvPr>
            <p:cNvGrpSpPr/>
            <p:nvPr/>
          </p:nvGrpSpPr>
          <p:grpSpPr>
            <a:xfrm>
              <a:off x="960120" y="2985870"/>
              <a:ext cx="2766060" cy="2078182"/>
              <a:chOff x="997546" y="3417670"/>
              <a:chExt cx="2766060" cy="2078182"/>
            </a:xfrm>
          </p:grpSpPr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8171DBA0-8C16-4BB6-813F-2F671931D784}"/>
                  </a:ext>
                </a:extLst>
              </p:cNvPr>
              <p:cNvSpPr/>
              <p:nvPr/>
            </p:nvSpPr>
            <p:spPr>
              <a:xfrm>
                <a:off x="997546" y="3417670"/>
                <a:ext cx="2766060" cy="2078182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2" name="Picture 11" descr="A picture containing clock&#10;&#10;Description automatically generated">
                <a:extLst>
                  <a:ext uri="{FF2B5EF4-FFF2-40B4-BE49-F238E27FC236}">
                    <a16:creationId xmlns:a16="http://schemas.microsoft.com/office/drawing/2014/main" id="{A6745125-A927-490D-B6FD-0B579A79E2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54390" y="3797275"/>
                <a:ext cx="1828104" cy="526962"/>
              </a:xfrm>
              <a:prstGeom prst="rect">
                <a:avLst/>
              </a:prstGeom>
            </p:spPr>
          </p:pic>
          <p:pic>
            <p:nvPicPr>
              <p:cNvPr id="47" name="Picture 46" descr="A picture containing drawing&#10;&#10;Description automatically generated">
                <a:extLst>
                  <a:ext uri="{FF2B5EF4-FFF2-40B4-BE49-F238E27FC236}">
                    <a16:creationId xmlns:a16="http://schemas.microsoft.com/office/drawing/2014/main" id="{3C823081-ECE0-4187-9069-0DF0ABFEAA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83830" y="4418209"/>
                <a:ext cx="1993490" cy="864695"/>
              </a:xfrm>
              <a:prstGeom prst="rect">
                <a:avLst/>
              </a:prstGeom>
            </p:spPr>
          </p:pic>
        </p:grp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CF0E47C2-82CC-4C08-8758-A996C033E464}"/>
                </a:ext>
              </a:extLst>
            </p:cNvPr>
            <p:cNvSpPr txBox="1"/>
            <p:nvPr/>
          </p:nvSpPr>
          <p:spPr>
            <a:xfrm>
              <a:off x="1137426" y="2144159"/>
              <a:ext cx="241144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400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Chatbot</a:t>
              </a:r>
              <a:endParaRPr lang="en-US" sz="2400" dirty="0">
                <a:solidFill>
                  <a:schemeClr val="bg1"/>
                </a:solidFill>
                <a:latin typeface="Bahnschrift" panose="020B0502040204020203" pitchFamily="34" charset="0"/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BCF5DFFB-D328-4142-8391-D2DE41CA4C5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343150" y="2189582"/>
              <a:ext cx="0" cy="1104624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224D8462-E554-46A2-9724-16BC0BD772FF}"/>
              </a:ext>
            </a:extLst>
          </p:cNvPr>
          <p:cNvSpPr txBox="1"/>
          <p:nvPr/>
        </p:nvSpPr>
        <p:spPr>
          <a:xfrm>
            <a:off x="4722164" y="5235892"/>
            <a:ext cx="2917851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SzPct val="60000"/>
            </a:pPr>
            <a:r>
              <a:rPr lang="de-DE" sz="2000" dirty="0">
                <a:solidFill>
                  <a:schemeClr val="bg1"/>
                </a:solidFill>
                <a:latin typeface="Bahnschrift" panose="020B0502040204020203" pitchFamily="34" charset="0"/>
              </a:rPr>
              <a:t>Corona </a:t>
            </a:r>
            <a:r>
              <a:rPr lang="de-DE" sz="2000" dirty="0" err="1">
                <a:solidFill>
                  <a:schemeClr val="bg1"/>
                </a:solidFill>
                <a:latin typeface="Bahnschrift" panose="020B0502040204020203" pitchFamily="34" charset="0"/>
              </a:rPr>
              <a:t>newsticker</a:t>
            </a:r>
            <a:endParaRPr lang="de-DE" sz="2000" dirty="0">
              <a:solidFill>
                <a:schemeClr val="bg1"/>
              </a:solidFill>
              <a:latin typeface="Bahnschrift" panose="020B0502040204020203" pitchFamily="34" charset="0"/>
            </a:endParaRPr>
          </a:p>
          <a:p>
            <a:pPr algn="ctr">
              <a:spcAft>
                <a:spcPts val="600"/>
              </a:spcAft>
              <a:buSzPct val="60000"/>
            </a:pPr>
            <a:r>
              <a:rPr lang="de-DE" sz="2000" dirty="0">
                <a:solidFill>
                  <a:schemeClr val="bg1"/>
                </a:solidFill>
                <a:latin typeface="Bahnschrift" panose="020B0502040204020203" pitchFamily="34" charset="0"/>
              </a:rPr>
              <a:t>Live </a:t>
            </a:r>
            <a:r>
              <a:rPr lang="de-DE" sz="2000" dirty="0" err="1">
                <a:solidFill>
                  <a:schemeClr val="bg1"/>
                </a:solidFill>
                <a:latin typeface="Bahnschrift" panose="020B0502040204020203" pitchFamily="34" charset="0"/>
              </a:rPr>
              <a:t>corona</a:t>
            </a:r>
            <a:r>
              <a:rPr lang="de-DE" sz="2000" dirty="0">
                <a:solidFill>
                  <a:schemeClr val="bg1"/>
                </a:solidFill>
                <a:latin typeface="Bahnschrift" panose="020B0502040204020203" pitchFamily="34" charset="0"/>
              </a:rPr>
              <a:t> </a:t>
            </a:r>
            <a:br>
              <a:rPr lang="de-DE" sz="2000" dirty="0">
                <a:solidFill>
                  <a:schemeClr val="bg1"/>
                </a:solidFill>
                <a:latin typeface="Bahnschrift" panose="020B0502040204020203" pitchFamily="34" charset="0"/>
              </a:rPr>
            </a:br>
            <a:r>
              <a:rPr lang="de-DE" sz="2000" dirty="0" err="1">
                <a:solidFill>
                  <a:schemeClr val="bg1"/>
                </a:solidFill>
                <a:latin typeface="Bahnschrift" panose="020B0502040204020203" pitchFamily="34" charset="0"/>
              </a:rPr>
              <a:t>dashboard</a:t>
            </a:r>
            <a:endParaRPr lang="en-US" sz="20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2EFCBD1-F5F9-4344-9922-3C2C41BEB22B}"/>
              </a:ext>
            </a:extLst>
          </p:cNvPr>
          <p:cNvGrpSpPr/>
          <p:nvPr/>
        </p:nvGrpSpPr>
        <p:grpSpPr>
          <a:xfrm>
            <a:off x="4782820" y="2985870"/>
            <a:ext cx="2766060" cy="2078182"/>
            <a:chOff x="4769236" y="3417670"/>
            <a:chExt cx="2766060" cy="2078182"/>
          </a:xfrm>
        </p:grpSpPr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60C47D30-CDC5-4B27-B196-32514461B7B8}"/>
                </a:ext>
              </a:extLst>
            </p:cNvPr>
            <p:cNvSpPr/>
            <p:nvPr/>
          </p:nvSpPr>
          <p:spPr>
            <a:xfrm>
              <a:off x="4769236" y="3417670"/>
              <a:ext cx="2766060" cy="2078182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0" name="Picture 49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5BF1873F-3110-4CE3-93AF-53E9AC9CC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37435" y="3439831"/>
              <a:ext cx="1993328" cy="1121338"/>
            </a:xfrm>
            <a:prstGeom prst="rect">
              <a:avLst/>
            </a:prstGeom>
          </p:spPr>
        </p:pic>
        <p:pic>
          <p:nvPicPr>
            <p:cNvPr id="52" name="Picture 51" descr="A close up of a sign&#10;&#10;Description automatically generated">
              <a:extLst>
                <a:ext uri="{FF2B5EF4-FFF2-40B4-BE49-F238E27FC236}">
                  <a16:creationId xmlns:a16="http://schemas.microsoft.com/office/drawing/2014/main" id="{7AB22B19-1DDD-47F4-A8F5-6E05145C91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1253" y="4375338"/>
              <a:ext cx="856494" cy="926725"/>
            </a:xfrm>
            <a:prstGeom prst="rect">
              <a:avLst/>
            </a:prstGeom>
          </p:spPr>
        </p:pic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975A5DD3-1C7F-4DF9-A683-DC221FBD0CC3}"/>
              </a:ext>
            </a:extLst>
          </p:cNvPr>
          <p:cNvSpPr txBox="1"/>
          <p:nvPr/>
        </p:nvSpPr>
        <p:spPr>
          <a:xfrm>
            <a:off x="4960126" y="2144159"/>
            <a:ext cx="24114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Web App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3581A725-DB94-4D39-8DB8-711969E21745}"/>
              </a:ext>
            </a:extLst>
          </p:cNvPr>
          <p:cNvCxnSpPr>
            <a:cxnSpLocks/>
          </p:cNvCxnSpPr>
          <p:nvPr/>
        </p:nvCxnSpPr>
        <p:spPr>
          <a:xfrm rot="5400000">
            <a:off x="6165851" y="2189582"/>
            <a:ext cx="0" cy="110462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45AE1ACE-821A-46A7-AD21-8BA7B9DB975F}"/>
              </a:ext>
            </a:extLst>
          </p:cNvPr>
          <p:cNvSpPr txBox="1"/>
          <p:nvPr/>
        </p:nvSpPr>
        <p:spPr>
          <a:xfrm>
            <a:off x="8483904" y="5251132"/>
            <a:ext cx="306230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SzPct val="60000"/>
            </a:pPr>
            <a:r>
              <a:rPr lang="de-DE" sz="2000" dirty="0" err="1">
                <a:solidFill>
                  <a:schemeClr val="bg1"/>
                </a:solidFill>
                <a:latin typeface="Bahnschrift" panose="020B0502040204020203" pitchFamily="34" charset="0"/>
              </a:rPr>
              <a:t>Seamless</a:t>
            </a:r>
            <a:r>
              <a:rPr lang="de-DE" sz="2000" dirty="0">
                <a:solidFill>
                  <a:schemeClr val="bg1"/>
                </a:solidFill>
                <a:latin typeface="Bahnschrift" panose="020B0502040204020203" pitchFamily="34" charset="0"/>
              </a:rPr>
              <a:t> </a:t>
            </a:r>
            <a:r>
              <a:rPr lang="de-DE" sz="2000" dirty="0" err="1">
                <a:solidFill>
                  <a:schemeClr val="bg1"/>
                </a:solidFill>
                <a:latin typeface="Bahnschrift" panose="020B0502040204020203" pitchFamily="34" charset="0"/>
              </a:rPr>
              <a:t>integration</a:t>
            </a:r>
            <a:r>
              <a:rPr lang="de-DE" sz="2000" dirty="0">
                <a:solidFill>
                  <a:schemeClr val="bg1"/>
                </a:solidFill>
                <a:latin typeface="Bahnschrift" panose="020B0502040204020203" pitchFamily="34" charset="0"/>
              </a:rPr>
              <a:t> </a:t>
            </a:r>
            <a:r>
              <a:rPr lang="de-DE" sz="2000" dirty="0" err="1">
                <a:solidFill>
                  <a:schemeClr val="bg1"/>
                </a:solidFill>
                <a:latin typeface="Bahnschrift" panose="020B0502040204020203" pitchFamily="34" charset="0"/>
              </a:rPr>
              <a:t>into</a:t>
            </a:r>
            <a:r>
              <a:rPr lang="de-DE" sz="2000" dirty="0">
                <a:solidFill>
                  <a:schemeClr val="bg1"/>
                </a:solidFill>
                <a:latin typeface="Bahnschrift" panose="020B0502040204020203" pitchFamily="34" charset="0"/>
              </a:rPr>
              <a:t> </a:t>
            </a:r>
            <a:r>
              <a:rPr lang="de-DE" sz="2000" dirty="0" err="1">
                <a:solidFill>
                  <a:schemeClr val="bg1"/>
                </a:solidFill>
                <a:latin typeface="Bahnschrift" panose="020B0502040204020203" pitchFamily="34" charset="0"/>
              </a:rPr>
              <a:t>websites</a:t>
            </a: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, Skype, Facebook and more</a:t>
            </a:r>
            <a:endParaRPr lang="de-DE" sz="20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8E55BB4-BBD7-4C21-A475-E4A32F9ABECB}"/>
              </a:ext>
            </a:extLst>
          </p:cNvPr>
          <p:cNvSpPr txBox="1"/>
          <p:nvPr/>
        </p:nvSpPr>
        <p:spPr>
          <a:xfrm>
            <a:off x="8782826" y="2144159"/>
            <a:ext cx="24114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Integration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E9C3CCA1-9E40-4A91-B749-0DDD68ABE737}"/>
              </a:ext>
            </a:extLst>
          </p:cNvPr>
          <p:cNvCxnSpPr>
            <a:cxnSpLocks/>
          </p:cNvCxnSpPr>
          <p:nvPr/>
        </p:nvCxnSpPr>
        <p:spPr>
          <a:xfrm rot="5400000">
            <a:off x="9988551" y="2189583"/>
            <a:ext cx="0" cy="110462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110600D7-A1C3-45EB-B32A-48762FD43D34}"/>
              </a:ext>
            </a:extLst>
          </p:cNvPr>
          <p:cNvSpPr/>
          <p:nvPr/>
        </p:nvSpPr>
        <p:spPr>
          <a:xfrm>
            <a:off x="8605520" y="2995523"/>
            <a:ext cx="2766060" cy="207818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ACB62145-A9E6-4A2E-A8D0-1CF65B1D174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35886" y="4438160"/>
            <a:ext cx="2056283" cy="525598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E610A49C-3960-4697-97DF-1B96517D779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782826" y="3176095"/>
            <a:ext cx="2362405" cy="716342"/>
          </a:xfrm>
          <a:prstGeom prst="rect">
            <a:avLst/>
          </a:prstGeom>
        </p:spPr>
      </p:pic>
      <p:pic>
        <p:nvPicPr>
          <p:cNvPr id="77" name="Picture 76" descr="A drawing of a cross&#10;&#10;Description automatically generated">
            <a:extLst>
              <a:ext uri="{FF2B5EF4-FFF2-40B4-BE49-F238E27FC236}">
                <a16:creationId xmlns:a16="http://schemas.microsoft.com/office/drawing/2014/main" id="{D7878A20-3DB4-43D5-8EC0-A8E16F76B7B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7738" y="3968076"/>
            <a:ext cx="388482" cy="388482"/>
          </a:xfrm>
          <a:prstGeom prst="rect">
            <a:avLst/>
          </a:prstGeom>
        </p:spPr>
      </p:pic>
      <p:pic>
        <p:nvPicPr>
          <p:cNvPr id="83" name="Picture 82" descr="A picture containing drawing&#10;&#10;Description automatically generated">
            <a:extLst>
              <a:ext uri="{FF2B5EF4-FFF2-40B4-BE49-F238E27FC236}">
                <a16:creationId xmlns:a16="http://schemas.microsoft.com/office/drawing/2014/main" id="{7F8C2C0A-1B15-4E85-B4E7-188D4105B74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1898" y="3875781"/>
            <a:ext cx="1497739" cy="613185"/>
          </a:xfrm>
          <a:prstGeom prst="rect">
            <a:avLst/>
          </a:prstGeom>
        </p:spPr>
      </p:pic>
      <p:pic>
        <p:nvPicPr>
          <p:cNvPr id="85" name="Picture 84" descr="A picture containing light&#10;&#10;Description automatically generated">
            <a:extLst>
              <a:ext uri="{FF2B5EF4-FFF2-40B4-BE49-F238E27FC236}">
                <a16:creationId xmlns:a16="http://schemas.microsoft.com/office/drawing/2014/main" id="{7E0D8D81-57A2-4166-B35E-E99D017C791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179" y="3903985"/>
            <a:ext cx="544632" cy="544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909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90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B1EAEC94-D35A-41FB-A756-CDF70C92D673}"/>
              </a:ext>
            </a:extLst>
          </p:cNvPr>
          <p:cNvSpPr txBox="1"/>
          <p:nvPr/>
        </p:nvSpPr>
        <p:spPr>
          <a:xfrm>
            <a:off x="2782601" y="498382"/>
            <a:ext cx="91574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Implementation Roadmap</a:t>
            </a:r>
            <a:endParaRPr lang="en-US" sz="54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pic>
        <p:nvPicPr>
          <p:cNvPr id="7" name="Picture 6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FC6A73B6-536F-408E-810E-4BE8050913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7" y="117741"/>
            <a:ext cx="1121337" cy="11213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E6CBF3-DE61-4DDF-94B4-4B6B7D9577E7}"/>
              </a:ext>
            </a:extLst>
          </p:cNvPr>
          <p:cNvSpPr txBox="1"/>
          <p:nvPr/>
        </p:nvSpPr>
        <p:spPr>
          <a:xfrm>
            <a:off x="-60960" y="990969"/>
            <a:ext cx="2652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28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A37EED-B076-4C69-81A2-9796745377A6}"/>
              </a:ext>
            </a:extLst>
          </p:cNvPr>
          <p:cNvCxnSpPr/>
          <p:nvPr/>
        </p:nvCxnSpPr>
        <p:spPr>
          <a:xfrm>
            <a:off x="2591632" y="213360"/>
            <a:ext cx="0" cy="14702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70973733-F97A-4E3B-8238-44B9DB08E719}"/>
              </a:ext>
            </a:extLst>
          </p:cNvPr>
          <p:cNvSpPr/>
          <p:nvPr/>
        </p:nvSpPr>
        <p:spPr>
          <a:xfrm>
            <a:off x="783129" y="3889235"/>
            <a:ext cx="882127" cy="882127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/>
              <a:t>Start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D12AFF8B-FF6E-49BF-B8C8-521AD49D37CB}"/>
              </a:ext>
            </a:extLst>
          </p:cNvPr>
          <p:cNvSpPr/>
          <p:nvPr/>
        </p:nvSpPr>
        <p:spPr>
          <a:xfrm>
            <a:off x="10361000" y="3889235"/>
            <a:ext cx="882127" cy="882127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/>
              <a:t>End</a:t>
            </a: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F16D9A3F-F6B1-46FF-83BB-74BBF00EA7BA}"/>
              </a:ext>
            </a:extLst>
          </p:cNvPr>
          <p:cNvCxnSpPr>
            <a:cxnSpLocks/>
            <a:stCxn id="96" idx="2"/>
            <a:endCxn id="11" idx="6"/>
          </p:cNvCxnSpPr>
          <p:nvPr/>
        </p:nvCxnSpPr>
        <p:spPr>
          <a:xfrm flipH="1">
            <a:off x="1665256" y="4330299"/>
            <a:ext cx="8695744" cy="0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8" name="Oval 97">
            <a:extLst>
              <a:ext uri="{FF2B5EF4-FFF2-40B4-BE49-F238E27FC236}">
                <a16:creationId xmlns:a16="http://schemas.microsoft.com/office/drawing/2014/main" id="{42AFD063-A6EA-4FAE-B9B8-D3E81F3422DC}"/>
              </a:ext>
            </a:extLst>
          </p:cNvPr>
          <p:cNvSpPr/>
          <p:nvPr/>
        </p:nvSpPr>
        <p:spPr>
          <a:xfrm>
            <a:off x="2966219" y="4056432"/>
            <a:ext cx="547732" cy="547732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01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A0BF3413-04A2-4581-AF1B-DE57B181DDB2}"/>
              </a:ext>
            </a:extLst>
          </p:cNvPr>
          <p:cNvSpPr/>
          <p:nvPr/>
        </p:nvSpPr>
        <p:spPr>
          <a:xfrm>
            <a:off x="4814914" y="4056432"/>
            <a:ext cx="547732" cy="547732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02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61ED7B2F-E267-4D8A-A360-8A99A734E74F}"/>
              </a:ext>
            </a:extLst>
          </p:cNvPr>
          <p:cNvSpPr/>
          <p:nvPr/>
        </p:nvSpPr>
        <p:spPr>
          <a:xfrm>
            <a:off x="6663609" y="4056431"/>
            <a:ext cx="547732" cy="547732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03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6CE60D0A-1370-4576-93A2-6857AEE779A5}"/>
              </a:ext>
            </a:extLst>
          </p:cNvPr>
          <p:cNvCxnSpPr>
            <a:cxnSpLocks/>
          </p:cNvCxnSpPr>
          <p:nvPr/>
        </p:nvCxnSpPr>
        <p:spPr>
          <a:xfrm flipV="1">
            <a:off x="3233788" y="3381709"/>
            <a:ext cx="0" cy="686693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F48387D8-F48F-4F95-BF70-D5CCC9895C08}"/>
              </a:ext>
            </a:extLst>
          </p:cNvPr>
          <p:cNvCxnSpPr>
            <a:cxnSpLocks/>
          </p:cNvCxnSpPr>
          <p:nvPr/>
        </p:nvCxnSpPr>
        <p:spPr>
          <a:xfrm flipV="1">
            <a:off x="1967879" y="3375312"/>
            <a:ext cx="2531817" cy="1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042ABF8B-0BEC-49C3-9EDC-8482B6C5FE13}"/>
              </a:ext>
            </a:extLst>
          </p:cNvPr>
          <p:cNvCxnSpPr>
            <a:cxnSpLocks/>
          </p:cNvCxnSpPr>
          <p:nvPr/>
        </p:nvCxnSpPr>
        <p:spPr>
          <a:xfrm flipV="1">
            <a:off x="6928495" y="3377946"/>
            <a:ext cx="0" cy="686693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170D4DA4-D909-4AAD-B2F5-C77EB627F6C3}"/>
              </a:ext>
            </a:extLst>
          </p:cNvPr>
          <p:cNvCxnSpPr>
            <a:cxnSpLocks/>
          </p:cNvCxnSpPr>
          <p:nvPr/>
        </p:nvCxnSpPr>
        <p:spPr>
          <a:xfrm flipV="1">
            <a:off x="5662586" y="3371549"/>
            <a:ext cx="2531817" cy="1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ACE68447-218D-4E18-8145-0FF24E451521}"/>
              </a:ext>
            </a:extLst>
          </p:cNvPr>
          <p:cNvCxnSpPr>
            <a:cxnSpLocks/>
          </p:cNvCxnSpPr>
          <p:nvPr/>
        </p:nvCxnSpPr>
        <p:spPr>
          <a:xfrm flipV="1">
            <a:off x="5075577" y="4579783"/>
            <a:ext cx="0" cy="686693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6BD897CD-A248-49E8-8210-5633A649E1FE}"/>
              </a:ext>
            </a:extLst>
          </p:cNvPr>
          <p:cNvCxnSpPr>
            <a:cxnSpLocks/>
          </p:cNvCxnSpPr>
          <p:nvPr/>
        </p:nvCxnSpPr>
        <p:spPr>
          <a:xfrm flipV="1">
            <a:off x="3809668" y="5258896"/>
            <a:ext cx="2531817" cy="1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E7FD408E-1AC0-4925-99FC-21576FE39FE0}"/>
              </a:ext>
            </a:extLst>
          </p:cNvPr>
          <p:cNvSpPr txBox="1"/>
          <p:nvPr/>
        </p:nvSpPr>
        <p:spPr>
          <a:xfrm>
            <a:off x="1901106" y="2326644"/>
            <a:ext cx="26525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Collect requirements on </a:t>
            </a:r>
            <a:r>
              <a:rPr lang="en-US" sz="2000" dirty="0" err="1">
                <a:solidFill>
                  <a:schemeClr val="bg1"/>
                </a:solidFill>
                <a:latin typeface="Bahnschrift" panose="020B0502040204020203" pitchFamily="34" charset="0"/>
              </a:rPr>
              <a:t>QnAs</a:t>
            </a: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 from public authorities</a:t>
            </a:r>
            <a:endParaRPr lang="de-DE" sz="20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93358396-B099-4283-AD87-56328A8A9C1B}"/>
              </a:ext>
            </a:extLst>
          </p:cNvPr>
          <p:cNvSpPr txBox="1"/>
          <p:nvPr/>
        </p:nvSpPr>
        <p:spPr>
          <a:xfrm>
            <a:off x="5601626" y="2328562"/>
            <a:ext cx="26525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Translate information and national rollout in Switzerland</a:t>
            </a:r>
            <a:endParaRPr lang="de-DE" sz="20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DE6B5F84-F5B0-49B5-9360-54021D0D2375}"/>
              </a:ext>
            </a:extLst>
          </p:cNvPr>
          <p:cNvSpPr txBox="1"/>
          <p:nvPr/>
        </p:nvSpPr>
        <p:spPr>
          <a:xfrm>
            <a:off x="3752866" y="5300596"/>
            <a:ext cx="26525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Complete web app and integrate into national website</a:t>
            </a:r>
            <a:endParaRPr lang="de-DE" sz="20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44AC08F4-E0E5-4C3F-81AD-B3BA2E09E090}"/>
              </a:ext>
            </a:extLst>
          </p:cNvPr>
          <p:cNvSpPr/>
          <p:nvPr/>
        </p:nvSpPr>
        <p:spPr>
          <a:xfrm>
            <a:off x="8512304" y="4056431"/>
            <a:ext cx="547732" cy="547732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04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0AECB5D9-28DE-4C17-94FC-7B98211DE40E}"/>
              </a:ext>
            </a:extLst>
          </p:cNvPr>
          <p:cNvCxnSpPr>
            <a:cxnSpLocks/>
          </p:cNvCxnSpPr>
          <p:nvPr/>
        </p:nvCxnSpPr>
        <p:spPr>
          <a:xfrm flipV="1">
            <a:off x="8781404" y="4579783"/>
            <a:ext cx="0" cy="686693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61901B79-C6BA-4F4D-BDA7-A74EE574ADC0}"/>
              </a:ext>
            </a:extLst>
          </p:cNvPr>
          <p:cNvCxnSpPr>
            <a:cxnSpLocks/>
          </p:cNvCxnSpPr>
          <p:nvPr/>
        </p:nvCxnSpPr>
        <p:spPr>
          <a:xfrm flipV="1">
            <a:off x="7515495" y="5258896"/>
            <a:ext cx="2531817" cy="1"/>
          </a:xfrm>
          <a:prstGeom prst="line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3148CFBC-9028-491E-970F-F7B2CE9B4F12}"/>
              </a:ext>
            </a:extLst>
          </p:cNvPr>
          <p:cNvSpPr txBox="1"/>
          <p:nvPr/>
        </p:nvSpPr>
        <p:spPr>
          <a:xfrm>
            <a:off x="7458693" y="5300596"/>
            <a:ext cx="26525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Add further Corona-related features to web app and chatbot</a:t>
            </a:r>
            <a:endParaRPr lang="de-DE" sz="20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34928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B1EAEC94-D35A-41FB-A756-CDF70C92D673}"/>
              </a:ext>
            </a:extLst>
          </p:cNvPr>
          <p:cNvSpPr txBox="1"/>
          <p:nvPr/>
        </p:nvSpPr>
        <p:spPr>
          <a:xfrm>
            <a:off x="2782601" y="498382"/>
            <a:ext cx="9157468" cy="1097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Value Proposition</a:t>
            </a:r>
            <a:endParaRPr lang="en-US" sz="54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171DBA0-8C16-4BB6-813F-2F671931D784}"/>
              </a:ext>
            </a:extLst>
          </p:cNvPr>
          <p:cNvSpPr/>
          <p:nvPr/>
        </p:nvSpPr>
        <p:spPr>
          <a:xfrm>
            <a:off x="1114425" y="4292994"/>
            <a:ext cx="2457450" cy="583204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F2AEE3EB-9239-4181-BAA7-D6CABF0298AE}"/>
              </a:ext>
            </a:extLst>
          </p:cNvPr>
          <p:cNvSpPr/>
          <p:nvPr/>
        </p:nvSpPr>
        <p:spPr>
          <a:xfrm>
            <a:off x="4867275" y="4292994"/>
            <a:ext cx="2457450" cy="583204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372258B4-3D6A-42E2-9494-6D8B7C60C237}"/>
              </a:ext>
            </a:extLst>
          </p:cNvPr>
          <p:cNvSpPr/>
          <p:nvPr/>
        </p:nvSpPr>
        <p:spPr>
          <a:xfrm>
            <a:off x="8377836" y="4292994"/>
            <a:ext cx="2457450" cy="583204"/>
          </a:xfrm>
          <a:prstGeom prst="ellipse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8645" y="3020785"/>
            <a:ext cx="734711" cy="1717505"/>
          </a:xfrm>
          <a:prstGeom prst="rect">
            <a:avLst/>
          </a:prstGeom>
        </p:spPr>
      </p:pic>
      <p:pic>
        <p:nvPicPr>
          <p:cNvPr id="7" name="Picture 6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FC6A73B6-536F-408E-810E-4BE80509132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7" y="117741"/>
            <a:ext cx="1121337" cy="11213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E6CBF3-DE61-4DDF-94B4-4B6B7D9577E7}"/>
              </a:ext>
            </a:extLst>
          </p:cNvPr>
          <p:cNvSpPr txBox="1"/>
          <p:nvPr/>
        </p:nvSpPr>
        <p:spPr>
          <a:xfrm>
            <a:off x="-60960" y="990969"/>
            <a:ext cx="2652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28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A37EED-B076-4C69-81A2-9796745377A6}"/>
              </a:ext>
            </a:extLst>
          </p:cNvPr>
          <p:cNvCxnSpPr/>
          <p:nvPr/>
        </p:nvCxnSpPr>
        <p:spPr>
          <a:xfrm>
            <a:off x="2591632" y="213360"/>
            <a:ext cx="0" cy="14702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85B69889-22D9-45CE-9A21-C9E63A6FB8B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6646" y="3651181"/>
            <a:ext cx="490130" cy="97487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714299B-29CA-4C20-A11D-8778418BC73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366" y="3794124"/>
            <a:ext cx="391712" cy="86666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6062315-277C-45FB-98CB-CBB49CF6A82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8661" y="3587504"/>
            <a:ext cx="398567" cy="99103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A318AB7-2127-483F-A9F2-5055DDC4548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0026" y="3678917"/>
            <a:ext cx="538604" cy="920523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04112B6C-48EC-4CE8-830B-1A8769077126}"/>
              </a:ext>
            </a:extLst>
          </p:cNvPr>
          <p:cNvGrpSpPr/>
          <p:nvPr/>
        </p:nvGrpSpPr>
        <p:grpSpPr>
          <a:xfrm>
            <a:off x="1649077" y="3064251"/>
            <a:ext cx="1388145" cy="1589463"/>
            <a:chOff x="2061867" y="1901228"/>
            <a:chExt cx="3273171" cy="3747869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C064C6E5-5BAC-4104-9119-F5E8383E40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139063" y="1901228"/>
              <a:ext cx="1613535" cy="2904363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EBEDEF56-81EB-4E46-8294-18294E6B44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061867" y="3328680"/>
              <a:ext cx="3273171" cy="2320417"/>
            </a:xfrm>
            <a:prstGeom prst="rect">
              <a:avLst/>
            </a:prstGeom>
          </p:spPr>
        </p:pic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053F81D-1F32-4E43-9604-0BD8D3D3AB69}"/>
                </a:ext>
              </a:extLst>
            </p:cNvPr>
            <p:cNvSpPr/>
            <p:nvPr/>
          </p:nvSpPr>
          <p:spPr>
            <a:xfrm>
              <a:off x="4398589" y="2299763"/>
              <a:ext cx="339436" cy="630382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73221DA5-2849-411F-8402-605564DEEBB9}"/>
                </a:ext>
              </a:extLst>
            </p:cNvPr>
            <p:cNvSpPr/>
            <p:nvPr/>
          </p:nvSpPr>
          <p:spPr>
            <a:xfrm>
              <a:off x="3151675" y="2315032"/>
              <a:ext cx="339436" cy="630382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13896C6-4A99-44AD-85B2-5AAC5EE26309}"/>
                </a:ext>
              </a:extLst>
            </p:cNvPr>
            <p:cNvSpPr/>
            <p:nvPr/>
          </p:nvSpPr>
          <p:spPr>
            <a:xfrm rot="3544034">
              <a:off x="4119821" y="2890959"/>
              <a:ext cx="108207" cy="206462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B024A189-FFC2-42EF-BA0F-53FF7A879D13}"/>
                </a:ext>
              </a:extLst>
            </p:cNvPr>
            <p:cNvSpPr/>
            <p:nvPr/>
          </p:nvSpPr>
          <p:spPr>
            <a:xfrm rot="3945370">
              <a:off x="4135706" y="2545662"/>
              <a:ext cx="218684" cy="584464"/>
            </a:xfrm>
            <a:prstGeom prst="arc">
              <a:avLst>
                <a:gd name="adj1" fmla="val 16643437"/>
                <a:gd name="adj2" fmla="val 3655578"/>
              </a:avLst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2B4CD6AC-A667-4F01-8705-B643F8941D3C}"/>
                </a:ext>
              </a:extLst>
            </p:cNvPr>
            <p:cNvGrpSpPr/>
            <p:nvPr/>
          </p:nvGrpSpPr>
          <p:grpSpPr>
            <a:xfrm rot="587514">
              <a:off x="2768105" y="3593847"/>
              <a:ext cx="515727" cy="515727"/>
              <a:chOff x="1507831" y="2703052"/>
              <a:chExt cx="624030" cy="624030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38D99B9D-C350-47E1-8947-43904B8B3A7D}"/>
                  </a:ext>
                </a:extLst>
              </p:cNvPr>
              <p:cNvSpPr/>
              <p:nvPr/>
            </p:nvSpPr>
            <p:spPr>
              <a:xfrm>
                <a:off x="1507831" y="2703052"/>
                <a:ext cx="624030" cy="624030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Plus Sign 33">
                <a:extLst>
                  <a:ext uri="{FF2B5EF4-FFF2-40B4-BE49-F238E27FC236}">
                    <a16:creationId xmlns:a16="http://schemas.microsoft.com/office/drawing/2014/main" id="{60106A86-668E-4453-B596-574BA63CF89A}"/>
                  </a:ext>
                </a:extLst>
              </p:cNvPr>
              <p:cNvSpPr/>
              <p:nvPr/>
            </p:nvSpPr>
            <p:spPr>
              <a:xfrm>
                <a:off x="1547437" y="2757759"/>
                <a:ext cx="548640" cy="548640"/>
              </a:xfrm>
              <a:prstGeom prst="mathPlu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792EDF0B-DA2C-4D6A-80F5-A810A430FF34}"/>
              </a:ext>
            </a:extLst>
          </p:cNvPr>
          <p:cNvSpPr txBox="1"/>
          <p:nvPr/>
        </p:nvSpPr>
        <p:spPr>
          <a:xfrm>
            <a:off x="1137426" y="2319419"/>
            <a:ext cx="24114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For </a:t>
            </a:r>
            <a:r>
              <a:rPr lang="de-DE" sz="2400" dirty="0" err="1">
                <a:solidFill>
                  <a:schemeClr val="bg1"/>
                </a:solidFill>
                <a:latin typeface="Bahnschrift" panose="020B0502040204020203" pitchFamily="34" charset="0"/>
              </a:rPr>
              <a:t>authorities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897AD99-6F25-4532-9A05-E3196B105B29}"/>
              </a:ext>
            </a:extLst>
          </p:cNvPr>
          <p:cNvSpPr txBox="1"/>
          <p:nvPr/>
        </p:nvSpPr>
        <p:spPr>
          <a:xfrm>
            <a:off x="4890277" y="2319419"/>
            <a:ext cx="24114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For </a:t>
            </a:r>
            <a:r>
              <a:rPr lang="de-DE" sz="2400" dirty="0" err="1">
                <a:solidFill>
                  <a:schemeClr val="bg1"/>
                </a:solidFill>
                <a:latin typeface="Bahnschrift" panose="020B0502040204020203" pitchFamily="34" charset="0"/>
              </a:rPr>
              <a:t>employers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8AD8032-1E69-46FC-8BE8-6ABA31E26308}"/>
              </a:ext>
            </a:extLst>
          </p:cNvPr>
          <p:cNvSpPr txBox="1"/>
          <p:nvPr/>
        </p:nvSpPr>
        <p:spPr>
          <a:xfrm>
            <a:off x="8400837" y="2319419"/>
            <a:ext cx="24114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For </a:t>
            </a:r>
            <a:r>
              <a:rPr lang="de-DE" sz="2400" dirty="0" err="1">
                <a:solidFill>
                  <a:schemeClr val="bg1"/>
                </a:solidFill>
                <a:latin typeface="Bahnschrift" panose="020B0502040204020203" pitchFamily="34" charset="0"/>
              </a:rPr>
              <a:t>employees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167C45E-8A5B-4FA0-B8F3-C3AE8255E2CD}"/>
              </a:ext>
            </a:extLst>
          </p:cNvPr>
          <p:cNvCxnSpPr>
            <a:cxnSpLocks/>
          </p:cNvCxnSpPr>
          <p:nvPr/>
        </p:nvCxnSpPr>
        <p:spPr>
          <a:xfrm rot="5400000">
            <a:off x="2343150" y="2364842"/>
            <a:ext cx="0" cy="110462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FAE3F6B-00B5-4681-BE15-8930948ED209}"/>
              </a:ext>
            </a:extLst>
          </p:cNvPr>
          <p:cNvCxnSpPr>
            <a:cxnSpLocks/>
          </p:cNvCxnSpPr>
          <p:nvPr/>
        </p:nvCxnSpPr>
        <p:spPr>
          <a:xfrm rot="5400000">
            <a:off x="6096001" y="2364842"/>
            <a:ext cx="0" cy="110462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3E2754E-1D10-48E0-8F28-6D92D11B3523}"/>
              </a:ext>
            </a:extLst>
          </p:cNvPr>
          <p:cNvCxnSpPr>
            <a:cxnSpLocks/>
          </p:cNvCxnSpPr>
          <p:nvPr/>
        </p:nvCxnSpPr>
        <p:spPr>
          <a:xfrm rot="5400000">
            <a:off x="9606562" y="2364843"/>
            <a:ext cx="0" cy="110462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883F8EF8-527E-4252-A29C-DCCF7B371BB2}"/>
              </a:ext>
            </a:extLst>
          </p:cNvPr>
          <p:cNvSpPr txBox="1"/>
          <p:nvPr/>
        </p:nvSpPr>
        <p:spPr>
          <a:xfrm>
            <a:off x="1016853" y="5042422"/>
            <a:ext cx="265259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Increased consultancy quality</a:t>
            </a:r>
          </a:p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Less congestio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7A9C9CA-0EB4-466F-B3DA-D4BE03485E81}"/>
              </a:ext>
            </a:extLst>
          </p:cNvPr>
          <p:cNvSpPr txBox="1"/>
          <p:nvPr/>
        </p:nvSpPr>
        <p:spPr>
          <a:xfrm>
            <a:off x="4769703" y="5041282"/>
            <a:ext cx="265259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Fast access to information</a:t>
            </a:r>
          </a:p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Less insolvencie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BF97255-485D-430D-892A-C14D551769A5}"/>
              </a:ext>
            </a:extLst>
          </p:cNvPr>
          <p:cNvSpPr txBox="1"/>
          <p:nvPr/>
        </p:nvSpPr>
        <p:spPr>
          <a:xfrm>
            <a:off x="8280264" y="5027704"/>
            <a:ext cx="265259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Faster payment settlement</a:t>
            </a:r>
          </a:p>
          <a:p>
            <a:pPr algn="ctr">
              <a:spcAft>
                <a:spcPts val="1200"/>
              </a:spcAft>
              <a:buSzPct val="60000"/>
            </a:pPr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</a:rPr>
              <a:t>Less layoffs</a:t>
            </a:r>
          </a:p>
        </p:txBody>
      </p:sp>
    </p:spTree>
    <p:extLst>
      <p:ext uri="{BB962C8B-B14F-4D97-AF65-F5344CB8AC3E}">
        <p14:creationId xmlns:p14="http://schemas.microsoft.com/office/powerpoint/2010/main" val="37093395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8447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4371" y="3616647"/>
            <a:ext cx="1183259" cy="276606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80A263A-270E-43AF-B23A-9F6DA2230A4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2726" y="3735392"/>
            <a:ext cx="1271272" cy="252857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A75398B-B068-4C34-B533-5F1A81D3405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218" y="3942051"/>
            <a:ext cx="1016000" cy="22479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A18C5D9-151F-4498-B618-59A2918CE72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5958" y="3772284"/>
            <a:ext cx="1033782" cy="257048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003F246-D63E-4813-857C-EF0CEE87B0E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828" y="3744344"/>
            <a:ext cx="1536700" cy="2626360"/>
          </a:xfrm>
          <a:prstGeom prst="rect">
            <a:avLst/>
          </a:prstGeom>
        </p:spPr>
      </p:pic>
      <p:pic>
        <p:nvPicPr>
          <p:cNvPr id="26" name="Picture 25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1842D3F7-3488-4DC7-B180-5B2E6BFCE75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7" y="117741"/>
            <a:ext cx="1121337" cy="1121337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49645FBE-1019-4001-9A9B-AE668FB9B1C5}"/>
              </a:ext>
            </a:extLst>
          </p:cNvPr>
          <p:cNvSpPr txBox="1"/>
          <p:nvPr/>
        </p:nvSpPr>
        <p:spPr>
          <a:xfrm>
            <a:off x="-60960" y="990969"/>
            <a:ext cx="2652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28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83B2D8-828B-413E-B057-59DC8DD58124}"/>
              </a:ext>
            </a:extLst>
          </p:cNvPr>
          <p:cNvCxnSpPr/>
          <p:nvPr/>
        </p:nvCxnSpPr>
        <p:spPr>
          <a:xfrm>
            <a:off x="2591632" y="213360"/>
            <a:ext cx="0" cy="14702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rc 28">
            <a:extLst>
              <a:ext uri="{FF2B5EF4-FFF2-40B4-BE49-F238E27FC236}">
                <a16:creationId xmlns:a16="http://schemas.microsoft.com/office/drawing/2014/main" id="{CDEE388A-A40D-4324-8B09-889955668D19}"/>
              </a:ext>
            </a:extLst>
          </p:cNvPr>
          <p:cNvSpPr/>
          <p:nvPr/>
        </p:nvSpPr>
        <p:spPr>
          <a:xfrm rot="2712096" flipV="1">
            <a:off x="3259515" y="4542432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Arc 29">
            <a:extLst>
              <a:ext uri="{FF2B5EF4-FFF2-40B4-BE49-F238E27FC236}">
                <a16:creationId xmlns:a16="http://schemas.microsoft.com/office/drawing/2014/main" id="{E8B35DA4-E604-4B08-B95E-13C915B33CDF}"/>
              </a:ext>
            </a:extLst>
          </p:cNvPr>
          <p:cNvSpPr/>
          <p:nvPr/>
        </p:nvSpPr>
        <p:spPr>
          <a:xfrm rot="2712096" flipV="1">
            <a:off x="4506058" y="4542431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Arc 30">
            <a:extLst>
              <a:ext uri="{FF2B5EF4-FFF2-40B4-BE49-F238E27FC236}">
                <a16:creationId xmlns:a16="http://schemas.microsoft.com/office/drawing/2014/main" id="{94012320-B3D5-49BE-83D4-93325DCC16B2}"/>
              </a:ext>
            </a:extLst>
          </p:cNvPr>
          <p:cNvSpPr/>
          <p:nvPr/>
        </p:nvSpPr>
        <p:spPr>
          <a:xfrm rot="2712096" flipV="1">
            <a:off x="5929209" y="4346590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Arc 31">
            <a:extLst>
              <a:ext uri="{FF2B5EF4-FFF2-40B4-BE49-F238E27FC236}">
                <a16:creationId xmlns:a16="http://schemas.microsoft.com/office/drawing/2014/main" id="{A9B0499C-BEBE-48B9-B1D5-A97482908612}"/>
              </a:ext>
            </a:extLst>
          </p:cNvPr>
          <p:cNvSpPr/>
          <p:nvPr/>
        </p:nvSpPr>
        <p:spPr>
          <a:xfrm rot="2712096" flipV="1">
            <a:off x="7304433" y="4557670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Arc 32">
            <a:extLst>
              <a:ext uri="{FF2B5EF4-FFF2-40B4-BE49-F238E27FC236}">
                <a16:creationId xmlns:a16="http://schemas.microsoft.com/office/drawing/2014/main" id="{5BF6D667-FEBF-4C22-B46C-67BE212C49B0}"/>
              </a:ext>
            </a:extLst>
          </p:cNvPr>
          <p:cNvSpPr/>
          <p:nvPr/>
        </p:nvSpPr>
        <p:spPr>
          <a:xfrm rot="2712096" flipV="1">
            <a:off x="8847921" y="4524409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3B14F13-59EA-48E4-B835-D830432809A5}"/>
              </a:ext>
            </a:extLst>
          </p:cNvPr>
          <p:cNvSpPr txBox="1"/>
          <p:nvPr/>
        </p:nvSpPr>
        <p:spPr>
          <a:xfrm>
            <a:off x="2782601" y="498382"/>
            <a:ext cx="91574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The Corona Fighters</a:t>
            </a:r>
            <a:endParaRPr lang="en-US" sz="54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46782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2" grpId="0" animBg="1"/>
      <p:bldP spid="3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7945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4371" y="3616647"/>
            <a:ext cx="1183259" cy="276606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80A263A-270E-43AF-B23A-9F6DA2230A4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3413" y="3770117"/>
            <a:ext cx="1271272" cy="252857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A75398B-B068-4C34-B533-5F1A81D3405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304" y="3829656"/>
            <a:ext cx="1117600" cy="247269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A18C5D9-151F-4498-B618-59A2918CE72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560" y="3725984"/>
            <a:ext cx="1033782" cy="257048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003F246-D63E-4813-857C-EF0CEE87B0E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057" y="3671519"/>
            <a:ext cx="1536700" cy="2626360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7BE358BE-09CB-40FF-9F0D-760198DA8C91}"/>
              </a:ext>
            </a:extLst>
          </p:cNvPr>
          <p:cNvGrpSpPr/>
          <p:nvPr/>
        </p:nvGrpSpPr>
        <p:grpSpPr>
          <a:xfrm>
            <a:off x="6687630" y="4952537"/>
            <a:ext cx="1709057" cy="707886"/>
            <a:chOff x="6687630" y="4952537"/>
            <a:chExt cx="1709057" cy="707886"/>
          </a:xfrm>
        </p:grpSpPr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6E2FCDCB-5D26-4B72-B533-BD908B00B56D}"/>
                </a:ext>
              </a:extLst>
            </p:cNvPr>
            <p:cNvCxnSpPr/>
            <p:nvPr/>
          </p:nvCxnSpPr>
          <p:spPr>
            <a:xfrm>
              <a:off x="6687630" y="5638800"/>
              <a:ext cx="1709057" cy="0"/>
            </a:xfrm>
            <a:prstGeom prst="straightConnector1">
              <a:avLst/>
            </a:prstGeom>
            <a:ln w="57150">
              <a:solidFill>
                <a:schemeClr val="bg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EDB219A-695E-4DC8-9795-E2D9DC623ECE}"/>
                </a:ext>
              </a:extLst>
            </p:cNvPr>
            <p:cNvSpPr txBox="1"/>
            <p:nvPr/>
          </p:nvSpPr>
          <p:spPr>
            <a:xfrm>
              <a:off x="6983847" y="4952537"/>
              <a:ext cx="112495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4000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2m</a:t>
              </a:r>
              <a:endParaRPr lang="en-US" sz="4000" b="1" dirty="0">
                <a:solidFill>
                  <a:schemeClr val="bg1"/>
                </a:solidFill>
                <a:latin typeface="Bahnschrift" panose="020B0502040204020203" pitchFamily="34" charset="0"/>
              </a:endParaRPr>
            </a:p>
          </p:txBody>
        </p:sp>
      </p:grpSp>
      <p:sp>
        <p:nvSpPr>
          <p:cNvPr id="14" name="Arc 13">
            <a:extLst>
              <a:ext uri="{FF2B5EF4-FFF2-40B4-BE49-F238E27FC236}">
                <a16:creationId xmlns:a16="http://schemas.microsoft.com/office/drawing/2014/main" id="{F73DD14F-A191-4D98-9F7D-065180983E0C}"/>
              </a:ext>
            </a:extLst>
          </p:cNvPr>
          <p:cNvSpPr/>
          <p:nvPr/>
        </p:nvSpPr>
        <p:spPr>
          <a:xfrm rot="2712096" flipV="1">
            <a:off x="8823844" y="4548970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c 14">
            <a:extLst>
              <a:ext uri="{FF2B5EF4-FFF2-40B4-BE49-F238E27FC236}">
                <a16:creationId xmlns:a16="http://schemas.microsoft.com/office/drawing/2014/main" id="{AD9DA0E4-BB72-42C4-A73E-2811B9578447}"/>
              </a:ext>
            </a:extLst>
          </p:cNvPr>
          <p:cNvSpPr/>
          <p:nvPr/>
        </p:nvSpPr>
        <p:spPr>
          <a:xfrm rot="2712096" flipV="1">
            <a:off x="11060858" y="4494541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55B72FA5-8AB3-40EF-A69C-CE815C2A57BC}"/>
              </a:ext>
            </a:extLst>
          </p:cNvPr>
          <p:cNvSpPr/>
          <p:nvPr/>
        </p:nvSpPr>
        <p:spPr>
          <a:xfrm rot="2712096" flipV="1">
            <a:off x="5928188" y="4342138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FAA26406-40C6-4EA2-B338-57AF6A0A4C10}"/>
              </a:ext>
            </a:extLst>
          </p:cNvPr>
          <p:cNvSpPr/>
          <p:nvPr/>
        </p:nvSpPr>
        <p:spPr>
          <a:xfrm rot="2712096" flipV="1">
            <a:off x="3217605" y="4565292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5BC4AEDF-4BF6-40D1-9701-DF7D969962AA}"/>
              </a:ext>
            </a:extLst>
          </p:cNvPr>
          <p:cNvSpPr/>
          <p:nvPr/>
        </p:nvSpPr>
        <p:spPr>
          <a:xfrm rot="2712096" flipV="1">
            <a:off x="964220" y="4521740"/>
            <a:ext cx="333581" cy="350471"/>
          </a:xfrm>
          <a:custGeom>
            <a:avLst/>
            <a:gdLst>
              <a:gd name="connsiteX0" fmla="*/ 166790 w 333581"/>
              <a:gd name="connsiteY0" fmla="*/ 0 h 350471"/>
              <a:gd name="connsiteX1" fmla="*/ 333581 w 333581"/>
              <a:gd name="connsiteY1" fmla="*/ 175236 h 350471"/>
              <a:gd name="connsiteX2" fmla="*/ 166791 w 333581"/>
              <a:gd name="connsiteY2" fmla="*/ 175236 h 350471"/>
              <a:gd name="connsiteX3" fmla="*/ 166790 w 333581"/>
              <a:gd name="connsiteY3" fmla="*/ 0 h 350471"/>
              <a:gd name="connsiteX0" fmla="*/ 166790 w 333581"/>
              <a:gd name="connsiteY0" fmla="*/ 0 h 350471"/>
              <a:gd name="connsiteX1" fmla="*/ 333581 w 333581"/>
              <a:gd name="connsiteY1" fmla="*/ 175236 h 350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3581" h="350471" stroke="0" extrusionOk="0">
                <a:moveTo>
                  <a:pt x="166790" y="0"/>
                </a:moveTo>
                <a:cubicBezTo>
                  <a:pt x="256646" y="-810"/>
                  <a:pt x="345207" y="89073"/>
                  <a:pt x="333581" y="175236"/>
                </a:cubicBezTo>
                <a:cubicBezTo>
                  <a:pt x="258328" y="178956"/>
                  <a:pt x="225747" y="174921"/>
                  <a:pt x="166791" y="175236"/>
                </a:cubicBezTo>
                <a:cubicBezTo>
                  <a:pt x="175561" y="115517"/>
                  <a:pt x="159765" y="65557"/>
                  <a:pt x="166790" y="0"/>
                </a:cubicBezTo>
                <a:close/>
              </a:path>
              <a:path w="333581" h="350471" fill="none" extrusionOk="0">
                <a:moveTo>
                  <a:pt x="166790" y="0"/>
                </a:moveTo>
                <a:cubicBezTo>
                  <a:pt x="254401" y="16476"/>
                  <a:pt x="311429" y="77845"/>
                  <a:pt x="333581" y="175236"/>
                </a:cubicBezTo>
              </a:path>
              <a:path w="333581" h="350471" fill="none" stroke="0" extrusionOk="0">
                <a:moveTo>
                  <a:pt x="166790" y="0"/>
                </a:moveTo>
                <a:cubicBezTo>
                  <a:pt x="245891" y="2368"/>
                  <a:pt x="349543" y="68885"/>
                  <a:pt x="333581" y="175236"/>
                </a:cubicBezTo>
              </a:path>
            </a:pathLst>
          </a:custGeom>
          <a:ln w="3810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06633C77-13C1-4E21-A487-6484E5E5AA4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7" y="117741"/>
            <a:ext cx="1121337" cy="112133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5CEA2CE-1E2F-4A47-A47C-C71AAB8777B9}"/>
              </a:ext>
            </a:extLst>
          </p:cNvPr>
          <p:cNvSpPr txBox="1"/>
          <p:nvPr/>
        </p:nvSpPr>
        <p:spPr>
          <a:xfrm>
            <a:off x="-60960" y="990969"/>
            <a:ext cx="2652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Bahnschrift" panose="020B0502040204020203" pitchFamily="34" charset="0"/>
              </a:rPr>
              <a:t>KURA</a:t>
            </a:r>
            <a:r>
              <a:rPr lang="de-DE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BOT</a:t>
            </a:r>
            <a:endParaRPr lang="en-US" sz="28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4C66CB-CFBA-4846-BE8E-47B5C57B7550}"/>
              </a:ext>
            </a:extLst>
          </p:cNvPr>
          <p:cNvCxnSpPr/>
          <p:nvPr/>
        </p:nvCxnSpPr>
        <p:spPr>
          <a:xfrm>
            <a:off x="2591632" y="213360"/>
            <a:ext cx="0" cy="14702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237E034D-263A-4825-847B-4C180538AECB}"/>
              </a:ext>
            </a:extLst>
          </p:cNvPr>
          <p:cNvSpPr txBox="1"/>
          <p:nvPr/>
        </p:nvSpPr>
        <p:spPr>
          <a:xfrm>
            <a:off x="65607" y="2782978"/>
            <a:ext cx="21922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David</a:t>
            </a:r>
          </a:p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Stammbach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817E9AE-1D63-45EF-8D1D-FCF966CF0699}"/>
              </a:ext>
            </a:extLst>
          </p:cNvPr>
          <p:cNvSpPr txBox="1"/>
          <p:nvPr/>
        </p:nvSpPr>
        <p:spPr>
          <a:xfrm>
            <a:off x="2273071" y="2782978"/>
            <a:ext cx="21922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Jürg</a:t>
            </a:r>
          </a:p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Käser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CB27849-3E70-4A31-9094-E16575CE1D7E}"/>
              </a:ext>
            </a:extLst>
          </p:cNvPr>
          <p:cNvSpPr txBox="1"/>
          <p:nvPr/>
        </p:nvSpPr>
        <p:spPr>
          <a:xfrm>
            <a:off x="7916294" y="2782978"/>
            <a:ext cx="21922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Minh-Kha</a:t>
            </a:r>
          </a:p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Nguyen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21FBC37-F9C3-4406-81B4-03FD7AA9A483}"/>
              </a:ext>
            </a:extLst>
          </p:cNvPr>
          <p:cNvSpPr txBox="1"/>
          <p:nvPr/>
        </p:nvSpPr>
        <p:spPr>
          <a:xfrm>
            <a:off x="10147883" y="2782978"/>
            <a:ext cx="21922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Bahnschrift" panose="020B0502040204020203" pitchFamily="34" charset="0"/>
              </a:rPr>
              <a:t>Torben</a:t>
            </a:r>
          </a:p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Mannhart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787D48C-C62B-410C-8769-0C1097ED0719}"/>
              </a:ext>
            </a:extLst>
          </p:cNvPr>
          <p:cNvSpPr txBox="1"/>
          <p:nvPr/>
        </p:nvSpPr>
        <p:spPr>
          <a:xfrm>
            <a:off x="53185" y="6350637"/>
            <a:ext cx="2192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Web App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CD866FE-8334-4AC4-8EE9-17B9723B3306}"/>
              </a:ext>
            </a:extLst>
          </p:cNvPr>
          <p:cNvSpPr txBox="1"/>
          <p:nvPr/>
        </p:nvSpPr>
        <p:spPr>
          <a:xfrm>
            <a:off x="2288282" y="6350637"/>
            <a:ext cx="2192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Chatbot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BD8B140-F215-40CD-BC89-2CBD5954C6C9}"/>
              </a:ext>
            </a:extLst>
          </p:cNvPr>
          <p:cNvSpPr txBox="1"/>
          <p:nvPr/>
        </p:nvSpPr>
        <p:spPr>
          <a:xfrm>
            <a:off x="7876233" y="6350637"/>
            <a:ext cx="2192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Business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863250F-270C-43C3-9491-4D15E1EFA1EB}"/>
              </a:ext>
            </a:extLst>
          </p:cNvPr>
          <p:cNvSpPr txBox="1"/>
          <p:nvPr/>
        </p:nvSpPr>
        <p:spPr>
          <a:xfrm>
            <a:off x="10130788" y="6350637"/>
            <a:ext cx="2192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Chatbot</a:t>
            </a:r>
            <a:endParaRPr lang="en-US" sz="2400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B7A6DA6-588C-4E24-B8F4-B7FA4915A3AB}"/>
              </a:ext>
            </a:extLst>
          </p:cNvPr>
          <p:cNvSpPr txBox="1"/>
          <p:nvPr/>
        </p:nvSpPr>
        <p:spPr>
          <a:xfrm>
            <a:off x="4745531" y="1936126"/>
            <a:ext cx="265259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  <a:latin typeface="Bahnschrift" panose="020B0502040204020203" pitchFamily="34" charset="0"/>
              </a:rPr>
              <a:t>Nurses</a:t>
            </a:r>
            <a:endParaRPr lang="de-DE" dirty="0">
              <a:solidFill>
                <a:schemeClr val="bg1"/>
              </a:solidFill>
              <a:latin typeface="Bahnschrift" panose="020B0502040204020203" pitchFamily="34" charset="0"/>
            </a:endParaRPr>
          </a:p>
          <a:p>
            <a:pPr algn="ctr"/>
            <a:r>
              <a:rPr lang="de-DE" dirty="0" err="1">
                <a:solidFill>
                  <a:schemeClr val="bg1"/>
                </a:solidFill>
                <a:latin typeface="Bahnschrift" panose="020B0502040204020203" pitchFamily="34" charset="0"/>
              </a:rPr>
              <a:t>Cashiers</a:t>
            </a:r>
            <a:endParaRPr lang="de-DE" dirty="0">
              <a:solidFill>
                <a:schemeClr val="bg1"/>
              </a:solidFill>
              <a:latin typeface="Bahnschrift" panose="020B0502040204020203" pitchFamily="34" charset="0"/>
            </a:endParaRPr>
          </a:p>
          <a:p>
            <a:pPr algn="ctr"/>
            <a:r>
              <a:rPr lang="de-DE" dirty="0" err="1">
                <a:solidFill>
                  <a:schemeClr val="bg1"/>
                </a:solidFill>
                <a:latin typeface="Bahnschrift" panose="020B0502040204020203" pitchFamily="34" charset="0"/>
              </a:rPr>
              <a:t>Doctors</a:t>
            </a:r>
            <a:endParaRPr lang="de-DE" dirty="0">
              <a:solidFill>
                <a:schemeClr val="bg1"/>
              </a:solidFill>
              <a:latin typeface="Bahnschrift" panose="020B0502040204020203" pitchFamily="34" charset="0"/>
            </a:endParaRPr>
          </a:p>
          <a:p>
            <a:pPr algn="ctr"/>
            <a:r>
              <a:rPr lang="de-DE" dirty="0" err="1">
                <a:solidFill>
                  <a:schemeClr val="bg1"/>
                </a:solidFill>
                <a:latin typeface="Bahnschrift" panose="020B0502040204020203" pitchFamily="34" charset="0"/>
              </a:rPr>
              <a:t>Officials</a:t>
            </a:r>
            <a:endParaRPr lang="de-DE" dirty="0">
              <a:solidFill>
                <a:schemeClr val="bg1"/>
              </a:solidFill>
              <a:latin typeface="Bahnschrift" panose="020B0502040204020203" pitchFamily="34" charset="0"/>
            </a:endParaRPr>
          </a:p>
          <a:p>
            <a:pPr algn="ctr"/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and </a:t>
            </a:r>
            <a:r>
              <a:rPr lang="de-DE" dirty="0" err="1">
                <a:solidFill>
                  <a:schemeClr val="bg1"/>
                </a:solidFill>
                <a:latin typeface="Bahnschrift" panose="020B0502040204020203" pitchFamily="34" charset="0"/>
              </a:rPr>
              <a:t>much</a:t>
            </a:r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Bahnschrift" panose="020B0502040204020203" pitchFamily="34" charset="0"/>
              </a:rPr>
              <a:t>more</a:t>
            </a:r>
            <a:r>
              <a:rPr lang="de-DE" dirty="0">
                <a:solidFill>
                  <a:schemeClr val="bg1"/>
                </a:solidFill>
                <a:latin typeface="Bahnschrift" panose="020B0502040204020203" pitchFamily="34" charset="0"/>
              </a:rPr>
              <a:t>!</a:t>
            </a:r>
            <a:endParaRPr lang="en-US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AE87AAB-88C2-4354-B289-A0F083E5ED03}"/>
              </a:ext>
            </a:extLst>
          </p:cNvPr>
          <p:cNvSpPr txBox="1"/>
          <p:nvPr/>
        </p:nvSpPr>
        <p:spPr>
          <a:xfrm>
            <a:off x="2782601" y="498382"/>
            <a:ext cx="91574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>
                <a:solidFill>
                  <a:schemeClr val="bg1"/>
                </a:solidFill>
                <a:latin typeface="Bahnschrift" panose="020B0502040204020203" pitchFamily="34" charset="0"/>
              </a:rPr>
              <a:t>The Corona Fighters</a:t>
            </a:r>
            <a:endParaRPr lang="en-US" sz="540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084A306-4D1E-4FA2-805E-BD06AAA6715D}"/>
              </a:ext>
            </a:extLst>
          </p:cNvPr>
          <p:cNvGrpSpPr/>
          <p:nvPr/>
        </p:nvGrpSpPr>
        <p:grpSpPr>
          <a:xfrm>
            <a:off x="5391536" y="3528167"/>
            <a:ext cx="1406884" cy="1383436"/>
            <a:chOff x="5391536" y="3528167"/>
            <a:chExt cx="1406884" cy="138343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29DA0CC-B47E-4073-AE71-7A166DEACFAC}"/>
                </a:ext>
              </a:extLst>
            </p:cNvPr>
            <p:cNvSpPr/>
            <p:nvPr/>
          </p:nvSpPr>
          <p:spPr>
            <a:xfrm>
              <a:off x="5391536" y="3528167"/>
              <a:ext cx="1406884" cy="138343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622DB858-7A1A-4962-AE9D-7BCAB9DB08C7}"/>
                </a:ext>
              </a:extLst>
            </p:cNvPr>
            <p:cNvGrpSpPr/>
            <p:nvPr/>
          </p:nvGrpSpPr>
          <p:grpSpPr>
            <a:xfrm>
              <a:off x="5756371" y="3902283"/>
              <a:ext cx="686433" cy="686433"/>
              <a:chOff x="5587505" y="1155447"/>
              <a:chExt cx="515727" cy="515727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66CC4266-89F0-4ED7-89A1-374CDD20E78B}"/>
                  </a:ext>
                </a:extLst>
              </p:cNvPr>
              <p:cNvSpPr/>
              <p:nvPr/>
            </p:nvSpPr>
            <p:spPr>
              <a:xfrm>
                <a:off x="5587505" y="1155447"/>
                <a:ext cx="515727" cy="515727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Plus Sign 41">
                <a:extLst>
                  <a:ext uri="{FF2B5EF4-FFF2-40B4-BE49-F238E27FC236}">
                    <a16:creationId xmlns:a16="http://schemas.microsoft.com/office/drawing/2014/main" id="{C657EA45-CBFA-4DF3-89AF-853942C4933E}"/>
                  </a:ext>
                </a:extLst>
              </p:cNvPr>
              <p:cNvSpPr/>
              <p:nvPr/>
            </p:nvSpPr>
            <p:spPr>
              <a:xfrm>
                <a:off x="5617824" y="1200724"/>
                <a:ext cx="453421" cy="453421"/>
              </a:xfrm>
              <a:prstGeom prst="mathPlu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48" name="Picture 47">
            <a:extLst>
              <a:ext uri="{FF2B5EF4-FFF2-40B4-BE49-F238E27FC236}">
                <a16:creationId xmlns:a16="http://schemas.microsoft.com/office/drawing/2014/main" id="{47BFE55A-2F12-486D-B276-EA1E443DAA38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b="9810"/>
          <a:stretch/>
        </p:blipFill>
        <p:spPr>
          <a:xfrm>
            <a:off x="115128" y="3660740"/>
            <a:ext cx="2070063" cy="1404656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34575554-FC64-468A-B44B-1E1E138602EB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b="9810"/>
          <a:stretch/>
        </p:blipFill>
        <p:spPr>
          <a:xfrm>
            <a:off x="2343689" y="3660740"/>
            <a:ext cx="2070063" cy="1404656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764628C9-5493-4484-94F4-2FCDC4418BCF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1" b="-832"/>
          <a:stretch/>
        </p:blipFill>
        <p:spPr>
          <a:xfrm>
            <a:off x="7954192" y="3660739"/>
            <a:ext cx="2070063" cy="1570387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1D146B4A-DF1B-4415-9D3E-68E53ADDEB3E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1" b="15141"/>
          <a:stretch/>
        </p:blipFill>
        <p:spPr>
          <a:xfrm>
            <a:off x="10047152" y="3660739"/>
            <a:ext cx="2070063" cy="1321615"/>
          </a:xfrm>
          <a:prstGeom prst="rect">
            <a:avLst/>
          </a:prstGeom>
        </p:spPr>
      </p:pic>
      <p:pic>
        <p:nvPicPr>
          <p:cNvPr id="8" name="Picture 7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id="{5B511536-9F0E-429C-83BC-70CEFEA6EE96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2373" b="66780" l="25167" r="79667">
                        <a14:foregroundMark x1="42000" y1="31525" x2="42000" y2="31525"/>
                        <a14:foregroundMark x1="57167" y1="30678" x2="57167" y2="30678"/>
                        <a14:foregroundMark x1="51000" y1="5932" x2="51000" y2="5932"/>
                        <a14:foregroundMark x1="51333" y1="2542" x2="51333" y2="2542"/>
                        <a14:foregroundMark x1="49500" y1="62712" x2="49500" y2="62712"/>
                        <a14:foregroundMark x1="45667" y1="63051" x2="45667" y2="63051"/>
                        <a14:foregroundMark x1="51333" y1="66780" x2="51333" y2="6678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370" r="13371" b="36202"/>
          <a:stretch/>
        </p:blipFill>
        <p:spPr>
          <a:xfrm>
            <a:off x="2683688" y="3837637"/>
            <a:ext cx="1406884" cy="1293003"/>
          </a:xfrm>
          <a:prstGeom prst="ellipse">
            <a:avLst/>
          </a:prstGeom>
          <a:ln w="38100">
            <a:noFill/>
          </a:ln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FDED107D-50BF-4528-9F3A-D4E06AA0CF88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7203" b="96817" l="9699" r="89967">
                        <a14:foregroundMark x1="44314" y1="7370" x2="44314" y2="7370"/>
                        <a14:foregroundMark x1="52676" y1="89615" x2="52676" y2="89615"/>
                        <a14:foregroundMark x1="48997" y1="93635" x2="48997" y2="93635"/>
                        <a14:foregroundMark x1="43311" y1="93635" x2="43311" y2="93635"/>
                        <a14:foregroundMark x1="47993" y1="96817" x2="47993" y2="9681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6655"/>
          <a:stretch/>
        </p:blipFill>
        <p:spPr>
          <a:xfrm rot="177134">
            <a:off x="8238021" y="3879114"/>
            <a:ext cx="1470241" cy="1370102"/>
          </a:xfrm>
          <a:prstGeom prst="rect">
            <a:avLst/>
          </a:prstGeom>
          <a:ln w="38100">
            <a:noFill/>
          </a:ln>
        </p:spPr>
      </p:pic>
      <p:pic>
        <p:nvPicPr>
          <p:cNvPr id="54" name="Picture 53" descr="A person wearing a blue shirt&#10;&#10;Description automatically generated">
            <a:extLst>
              <a:ext uri="{FF2B5EF4-FFF2-40B4-BE49-F238E27FC236}">
                <a16:creationId xmlns:a16="http://schemas.microsoft.com/office/drawing/2014/main" id="{76772C7C-252A-400C-91C8-239509153262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7391" b="70880" l="9973" r="89973">
                        <a14:foregroundMark x1="45995" y1="70880" x2="45995" y2="70880"/>
                      </a14:backgroundRemoval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" b="32265"/>
          <a:stretch/>
        </p:blipFill>
        <p:spPr>
          <a:xfrm>
            <a:off x="10457505" y="3650535"/>
            <a:ext cx="1619367" cy="1480105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BBF6FE8-32F7-4295-8E66-840F42CB9112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8663" b="89963" l="10000" r="90000">
                        <a14:foregroundMark x1="49756" y1="8663" x2="49756" y2="8663"/>
                        <a14:backgroundMark x1="27366" y1="78426" x2="27366" y2="78426"/>
                        <a14:backgroundMark x1="29707" y1="77343" x2="29707" y2="77343"/>
                        <a14:backgroundMark x1="32049" y1="67347" x2="32049" y2="67347"/>
                        <a14:backgroundMark x1="31268" y1="68222" x2="31268" y2="68222"/>
                      </a14:backgroundRemoval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2219"/>
          <a:stretch/>
        </p:blipFill>
        <p:spPr>
          <a:xfrm>
            <a:off x="411006" y="3866478"/>
            <a:ext cx="1541920" cy="1404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2474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CD8122E-8A66-4F65-9740-7DC1B59991AD}"/>
              </a:ext>
            </a:extLst>
          </p:cNvPr>
          <p:cNvSpPr/>
          <p:nvPr/>
        </p:nvSpPr>
        <p:spPr>
          <a:xfrm>
            <a:off x="-1" y="1"/>
            <a:ext cx="12192001" cy="6858000"/>
          </a:xfrm>
          <a:prstGeom prst="rect">
            <a:avLst/>
          </a:prstGeom>
          <a:gradFill flip="none" rotWithShape="1">
            <a:gsLst>
              <a:gs pos="0">
                <a:srgbClr val="820000"/>
              </a:gs>
              <a:gs pos="48000">
                <a:srgbClr val="BC0000"/>
              </a:gs>
              <a:gs pos="100000">
                <a:srgbClr val="FF7D7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37308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919BC2-87B9-41EA-90BB-BAC6E8B22F5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65" t="-883" r="965" b="8856"/>
          <a:stretch/>
        </p:blipFill>
        <p:spPr>
          <a:xfrm>
            <a:off x="375562" y="-6795935"/>
            <a:ext cx="10879086" cy="674239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022" y="2313110"/>
            <a:ext cx="1905651" cy="445476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D3DF17-80E0-4473-BD89-D7E7E842392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595" y="7230134"/>
            <a:ext cx="583542" cy="14509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BCAAF5-44F3-4C8A-BE13-C117EBC7771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3819" y="7316621"/>
            <a:ext cx="788569" cy="134773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0389DED-0973-42CF-9741-4FF6B5B7B14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726" y="-1873437"/>
            <a:ext cx="868295" cy="172704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51915BF-C736-439B-81DD-78B8C890DA1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740" y="-1835270"/>
            <a:ext cx="763335" cy="168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9624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919BC2-87B9-41EA-90BB-BAC6E8B22F5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65" t="-883" r="965" b="8856"/>
          <a:stretch/>
        </p:blipFill>
        <p:spPr>
          <a:xfrm>
            <a:off x="375562" y="71209"/>
            <a:ext cx="10879086" cy="674239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022" y="2313110"/>
            <a:ext cx="1905651" cy="445476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49370CD-2285-44A3-AFB6-302A110A597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726" y="-1873437"/>
            <a:ext cx="868295" cy="172704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66BDBAE-A47C-46E9-8D95-1BE1D22E47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740" y="-1835270"/>
            <a:ext cx="763335" cy="168888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D3DF17-80E0-4473-BD89-D7E7E842392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595" y="7230134"/>
            <a:ext cx="583542" cy="14509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BCAAF5-44F3-4C8A-BE13-C117EBC7771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3819" y="7316621"/>
            <a:ext cx="788569" cy="1347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1563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387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919BC2-87B9-41EA-90BB-BAC6E8B22F5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65" t="-883" r="965" b="8856"/>
          <a:stretch/>
        </p:blipFill>
        <p:spPr>
          <a:xfrm>
            <a:off x="375562" y="52921"/>
            <a:ext cx="10879086" cy="674239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022" y="2313110"/>
            <a:ext cx="1905651" cy="445476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49370CD-2285-44A3-AFB6-302A110A597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726" y="3466659"/>
            <a:ext cx="868295" cy="172704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66BDBAE-A47C-46E9-8D95-1BE1D22E47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740" y="3504826"/>
            <a:ext cx="763335" cy="168888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D3DF17-80E0-4473-BD89-D7E7E842392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595" y="3371366"/>
            <a:ext cx="583542" cy="14509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BCAAF5-44F3-4C8A-BE13-C117EBC7771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3819" y="3457853"/>
            <a:ext cx="788569" cy="134773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283DBDD-7BB7-421B-8A50-103A33430F5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78550" y="1306860"/>
            <a:ext cx="4876190" cy="4876190"/>
          </a:xfrm>
          <a:prstGeom prst="rect">
            <a:avLst/>
          </a:prstGeom>
        </p:spPr>
      </p:pic>
      <p:pic>
        <p:nvPicPr>
          <p:cNvPr id="16" name="Graphic 15" descr="Water">
            <a:extLst>
              <a:ext uri="{FF2B5EF4-FFF2-40B4-BE49-F238E27FC236}">
                <a16:creationId xmlns:a16="http://schemas.microsoft.com/office/drawing/2014/main" id="{DF6D7CED-2D6A-4845-921A-D61D488DFF8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050888" y="3662471"/>
            <a:ext cx="123564" cy="123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7181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5113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919BC2-87B9-41EA-90BB-BAC6E8B22F5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65" t="-883" r="965" b="8856"/>
          <a:stretch/>
        </p:blipFill>
        <p:spPr>
          <a:xfrm>
            <a:off x="375562" y="52921"/>
            <a:ext cx="10879086" cy="674239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49370CD-2285-44A3-AFB6-302A110A597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25055" y="3466659"/>
            <a:ext cx="868295" cy="172704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66BDBAE-A47C-46E9-8D95-1BE1D22E47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949474" y="3504826"/>
            <a:ext cx="763335" cy="168888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D3DF17-80E0-4473-BD89-D7E7E842392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83186" y="3371366"/>
            <a:ext cx="583542" cy="14509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BCAAF5-44F3-4C8A-BE13-C117EBC7771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87395" y="3457853"/>
            <a:ext cx="788569" cy="1347738"/>
          </a:xfrm>
          <a:prstGeom prst="rect">
            <a:avLst/>
          </a:prstGeom>
        </p:spPr>
      </p:pic>
      <p:sp>
        <p:nvSpPr>
          <p:cNvPr id="2" name="Arc 1">
            <a:extLst>
              <a:ext uri="{FF2B5EF4-FFF2-40B4-BE49-F238E27FC236}">
                <a16:creationId xmlns:a16="http://schemas.microsoft.com/office/drawing/2014/main" id="{16E0F010-D42B-41EF-9A76-EA4A5F1FFE2A}"/>
              </a:ext>
            </a:extLst>
          </p:cNvPr>
          <p:cNvSpPr/>
          <p:nvPr/>
        </p:nvSpPr>
        <p:spPr>
          <a:xfrm rot="18887904">
            <a:off x="89221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6863EAF-0719-4243-A7E2-FB40AD0362D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86" y="1426129"/>
            <a:ext cx="4876190" cy="487619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3517D293-771F-40C1-8F89-E689A746D6C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20822" y="7399265"/>
            <a:ext cx="3514757" cy="6957039"/>
          </a:xfrm>
          <a:prstGeom prst="rect">
            <a:avLst/>
          </a:prstGeom>
        </p:spPr>
      </p:pic>
      <p:pic>
        <p:nvPicPr>
          <p:cNvPr id="37" name="Graphic 36" descr="Water">
            <a:extLst>
              <a:ext uri="{FF2B5EF4-FFF2-40B4-BE49-F238E27FC236}">
                <a16:creationId xmlns:a16="http://schemas.microsoft.com/office/drawing/2014/main" id="{4587E3FD-74D6-4988-825D-B314F44354B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493911" y="3284602"/>
            <a:ext cx="218900" cy="218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115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2.59259E-6 L -2.08333E-7 0.0423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10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5728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919BC2-87B9-41EA-90BB-BAC6E8B22F5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65" t="-883" r="965" b="8856"/>
          <a:stretch/>
        </p:blipFill>
        <p:spPr>
          <a:xfrm>
            <a:off x="375562" y="52921"/>
            <a:ext cx="10879086" cy="674239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sp>
        <p:nvSpPr>
          <p:cNvPr id="2" name="Arc 1">
            <a:extLst>
              <a:ext uri="{FF2B5EF4-FFF2-40B4-BE49-F238E27FC236}">
                <a16:creationId xmlns:a16="http://schemas.microsoft.com/office/drawing/2014/main" id="{16E0F010-D42B-41EF-9A76-EA4A5F1FFE2A}"/>
              </a:ext>
            </a:extLst>
          </p:cNvPr>
          <p:cNvSpPr/>
          <p:nvPr/>
        </p:nvSpPr>
        <p:spPr>
          <a:xfrm rot="18887904">
            <a:off x="89221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71402A5D-8B72-425C-AFC2-CBAF4CC2A3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-69728" y="1169915"/>
            <a:ext cx="3514757" cy="6957039"/>
          </a:xfrm>
          <a:prstGeom prst="rect">
            <a:avLst/>
          </a:prstGeom>
        </p:spPr>
      </p:pic>
      <p:sp>
        <p:nvSpPr>
          <p:cNvPr id="35" name="Rounded Rectangular Callout 6">
            <a:extLst>
              <a:ext uri="{FF2B5EF4-FFF2-40B4-BE49-F238E27FC236}">
                <a16:creationId xmlns:a16="http://schemas.microsoft.com/office/drawing/2014/main" id="{9DF81AEC-EAA7-4428-BDE4-A751250FF651}"/>
              </a:ext>
            </a:extLst>
          </p:cNvPr>
          <p:cNvSpPr/>
          <p:nvPr/>
        </p:nvSpPr>
        <p:spPr>
          <a:xfrm>
            <a:off x="3716915" y="341780"/>
            <a:ext cx="3496017" cy="2634105"/>
          </a:xfrm>
          <a:prstGeom prst="wedgeRoundRectCallout">
            <a:avLst>
              <a:gd name="adj1" fmla="val -56398"/>
              <a:gd name="adj2" fmla="val 77584"/>
              <a:gd name="adj3" fmla="val 16667"/>
            </a:avLst>
          </a:prstGeom>
          <a:solidFill>
            <a:schemeClr val="bg1"/>
          </a:solidFill>
          <a:ln w="381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6863EAF-0719-4243-A7E2-FB40AD0362D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277" y="1675940"/>
            <a:ext cx="964729" cy="964729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49C57089-9BB2-4837-80A5-FF456C1B264B}"/>
              </a:ext>
            </a:extLst>
          </p:cNvPr>
          <p:cNvGrpSpPr/>
          <p:nvPr/>
        </p:nvGrpSpPr>
        <p:grpSpPr>
          <a:xfrm>
            <a:off x="4102559" y="861149"/>
            <a:ext cx="624030" cy="624030"/>
            <a:chOff x="5587505" y="1155447"/>
            <a:chExt cx="515727" cy="51572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822DD522-B8A8-466F-A181-61B5D4662270}"/>
                </a:ext>
              </a:extLst>
            </p:cNvPr>
            <p:cNvSpPr/>
            <p:nvPr/>
          </p:nvSpPr>
          <p:spPr>
            <a:xfrm>
              <a:off x="5587505" y="1155447"/>
              <a:ext cx="515727" cy="51572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Plus Sign 36">
              <a:extLst>
                <a:ext uri="{FF2B5EF4-FFF2-40B4-BE49-F238E27FC236}">
                  <a16:creationId xmlns:a16="http://schemas.microsoft.com/office/drawing/2014/main" id="{A7B2D0CE-4CDE-4B48-B16F-1C6D61EC79B1}"/>
                </a:ext>
              </a:extLst>
            </p:cNvPr>
            <p:cNvSpPr/>
            <p:nvPr/>
          </p:nvSpPr>
          <p:spPr>
            <a:xfrm>
              <a:off x="5617824" y="1200724"/>
              <a:ext cx="453421" cy="453421"/>
            </a:xfrm>
            <a:prstGeom prst="mathPlus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1C5378E-7664-465A-B6E0-A62FDD35FBC8}"/>
              </a:ext>
            </a:extLst>
          </p:cNvPr>
          <p:cNvSpPr txBox="1"/>
          <p:nvPr/>
        </p:nvSpPr>
        <p:spPr>
          <a:xfrm>
            <a:off x="4715266" y="905280"/>
            <a:ext cx="2632455" cy="6080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err="1">
                <a:latin typeface="Comic Sans MS" panose="030F0702030302020204" pitchFamily="66" charset="0"/>
              </a:rPr>
              <a:t>Kurzarbeit</a:t>
            </a:r>
            <a:endParaRPr lang="en-US" sz="3200" dirty="0">
              <a:latin typeface="Comic Sans MS" panose="030F0702030302020204" pitchFamily="66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4559964-DEB6-49AD-91BC-5CECDE75169E}"/>
              </a:ext>
            </a:extLst>
          </p:cNvPr>
          <p:cNvSpPr/>
          <p:nvPr/>
        </p:nvSpPr>
        <p:spPr>
          <a:xfrm>
            <a:off x="-3305129" y="2865031"/>
            <a:ext cx="3038920" cy="1001945"/>
          </a:xfrm>
          <a:custGeom>
            <a:avLst/>
            <a:gdLst>
              <a:gd name="connsiteX0" fmla="*/ 2959797 w 3038920"/>
              <a:gd name="connsiteY0" fmla="*/ 393904 h 1001945"/>
              <a:gd name="connsiteX1" fmla="*/ 1519460 w 3038920"/>
              <a:gd name="connsiteY1" fmla="*/ 0 h 1001945"/>
              <a:gd name="connsiteX2" fmla="*/ 79124 w 3038920"/>
              <a:gd name="connsiteY2" fmla="*/ 393904 h 1001945"/>
              <a:gd name="connsiteX3" fmla="*/ 27399 w 3038920"/>
              <a:gd name="connsiteY3" fmla="*/ 620697 h 1001945"/>
              <a:gd name="connsiteX4" fmla="*/ 238277 w 3038920"/>
              <a:gd name="connsiteY4" fmla="*/ 931046 h 1001945"/>
              <a:gd name="connsiteX5" fmla="*/ 480985 w 3038920"/>
              <a:gd name="connsiteY5" fmla="*/ 954919 h 1001945"/>
              <a:gd name="connsiteX6" fmla="*/ 675948 w 3038920"/>
              <a:gd name="connsiteY6" fmla="*/ 759957 h 1001945"/>
              <a:gd name="connsiteX7" fmla="*/ 723694 w 3038920"/>
              <a:gd name="connsiteY7" fmla="*/ 648549 h 1001945"/>
              <a:gd name="connsiteX8" fmla="*/ 723694 w 3038920"/>
              <a:gd name="connsiteY8" fmla="*/ 445629 h 1001945"/>
              <a:gd name="connsiteX9" fmla="*/ 1519460 w 3038920"/>
              <a:gd name="connsiteY9" fmla="*/ 314328 h 1001945"/>
              <a:gd name="connsiteX10" fmla="*/ 2315226 w 3038920"/>
              <a:gd name="connsiteY10" fmla="*/ 445629 h 1001945"/>
              <a:gd name="connsiteX11" fmla="*/ 2315226 w 3038920"/>
              <a:gd name="connsiteY11" fmla="*/ 648549 h 1001945"/>
              <a:gd name="connsiteX12" fmla="*/ 2362972 w 3038920"/>
              <a:gd name="connsiteY12" fmla="*/ 759957 h 1001945"/>
              <a:gd name="connsiteX13" fmla="*/ 2557935 w 3038920"/>
              <a:gd name="connsiteY13" fmla="*/ 954919 h 1001945"/>
              <a:gd name="connsiteX14" fmla="*/ 2800643 w 3038920"/>
              <a:gd name="connsiteY14" fmla="*/ 931046 h 1001945"/>
              <a:gd name="connsiteX15" fmla="*/ 3011522 w 3038920"/>
              <a:gd name="connsiteY15" fmla="*/ 620697 h 1001945"/>
              <a:gd name="connsiteX16" fmla="*/ 2959797 w 3038920"/>
              <a:gd name="connsiteY16" fmla="*/ 393904 h 1001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38920" h="1001945">
                <a:moveTo>
                  <a:pt x="2959797" y="393904"/>
                </a:moveTo>
                <a:cubicBezTo>
                  <a:pt x="2538041" y="143238"/>
                  <a:pt x="2044666" y="0"/>
                  <a:pt x="1519460" y="0"/>
                </a:cubicBezTo>
                <a:cubicBezTo>
                  <a:pt x="994254" y="0"/>
                  <a:pt x="500880" y="143238"/>
                  <a:pt x="79124" y="393904"/>
                </a:cubicBezTo>
                <a:cubicBezTo>
                  <a:pt x="-453" y="441650"/>
                  <a:pt x="-24326" y="545100"/>
                  <a:pt x="27399" y="620697"/>
                </a:cubicBezTo>
                <a:lnTo>
                  <a:pt x="238277" y="931046"/>
                </a:lnTo>
                <a:cubicBezTo>
                  <a:pt x="293980" y="1014602"/>
                  <a:pt x="413345" y="1026538"/>
                  <a:pt x="480985" y="954919"/>
                </a:cubicBezTo>
                <a:lnTo>
                  <a:pt x="675948" y="759957"/>
                </a:lnTo>
                <a:cubicBezTo>
                  <a:pt x="707779" y="728126"/>
                  <a:pt x="723694" y="688338"/>
                  <a:pt x="723694" y="648549"/>
                </a:cubicBezTo>
                <a:lnTo>
                  <a:pt x="723694" y="445629"/>
                </a:lnTo>
                <a:cubicBezTo>
                  <a:pt x="974360" y="362074"/>
                  <a:pt x="1240942" y="314328"/>
                  <a:pt x="1519460" y="314328"/>
                </a:cubicBezTo>
                <a:cubicBezTo>
                  <a:pt x="1797978" y="314328"/>
                  <a:pt x="2064560" y="362074"/>
                  <a:pt x="2315226" y="445629"/>
                </a:cubicBezTo>
                <a:lnTo>
                  <a:pt x="2315226" y="648549"/>
                </a:lnTo>
                <a:cubicBezTo>
                  <a:pt x="2315226" y="692317"/>
                  <a:pt x="2331142" y="732105"/>
                  <a:pt x="2362972" y="759957"/>
                </a:cubicBezTo>
                <a:lnTo>
                  <a:pt x="2557935" y="954919"/>
                </a:lnTo>
                <a:cubicBezTo>
                  <a:pt x="2629554" y="1026538"/>
                  <a:pt x="2744940" y="1014602"/>
                  <a:pt x="2800643" y="931046"/>
                </a:cubicBezTo>
                <a:lnTo>
                  <a:pt x="3011522" y="620697"/>
                </a:lnTo>
                <a:cubicBezTo>
                  <a:pt x="3063246" y="545100"/>
                  <a:pt x="3039373" y="441650"/>
                  <a:pt x="2959797" y="393904"/>
                </a:cubicBezTo>
                <a:close/>
              </a:path>
            </a:pathLst>
          </a:custGeom>
          <a:solidFill>
            <a:srgbClr val="000000"/>
          </a:solidFill>
          <a:ln w="39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EF7CF2C-2B27-428D-8328-C142119498BA}"/>
              </a:ext>
            </a:extLst>
          </p:cNvPr>
          <p:cNvSpPr/>
          <p:nvPr/>
        </p:nvSpPr>
        <p:spPr>
          <a:xfrm>
            <a:off x="-2986938" y="3445543"/>
            <a:ext cx="2387298" cy="1750685"/>
          </a:xfrm>
          <a:custGeom>
            <a:avLst/>
            <a:gdLst>
              <a:gd name="connsiteX0" fmla="*/ 1591532 w 2387298"/>
              <a:gd name="connsiteY0" fmla="*/ 795766 h 1750685"/>
              <a:gd name="connsiteX1" fmla="*/ 1432379 w 2387298"/>
              <a:gd name="connsiteY1" fmla="*/ 795766 h 1750685"/>
              <a:gd name="connsiteX2" fmla="*/ 1432379 w 2387298"/>
              <a:gd name="connsiteY2" fmla="*/ 636613 h 1750685"/>
              <a:gd name="connsiteX3" fmla="*/ 1591532 w 2387298"/>
              <a:gd name="connsiteY3" fmla="*/ 636613 h 1750685"/>
              <a:gd name="connsiteX4" fmla="*/ 1591532 w 2387298"/>
              <a:gd name="connsiteY4" fmla="*/ 795766 h 1750685"/>
              <a:gd name="connsiteX5" fmla="*/ 1591532 w 2387298"/>
              <a:gd name="connsiteY5" fmla="*/ 1114073 h 1750685"/>
              <a:gd name="connsiteX6" fmla="*/ 1432379 w 2387298"/>
              <a:gd name="connsiteY6" fmla="*/ 1114073 h 1750685"/>
              <a:gd name="connsiteX7" fmla="*/ 1432379 w 2387298"/>
              <a:gd name="connsiteY7" fmla="*/ 954919 h 1750685"/>
              <a:gd name="connsiteX8" fmla="*/ 1591532 w 2387298"/>
              <a:gd name="connsiteY8" fmla="*/ 954919 h 1750685"/>
              <a:gd name="connsiteX9" fmla="*/ 1591532 w 2387298"/>
              <a:gd name="connsiteY9" fmla="*/ 1114073 h 1750685"/>
              <a:gd name="connsiteX10" fmla="*/ 1591532 w 2387298"/>
              <a:gd name="connsiteY10" fmla="*/ 1432379 h 1750685"/>
              <a:gd name="connsiteX11" fmla="*/ 1432379 w 2387298"/>
              <a:gd name="connsiteY11" fmla="*/ 1432379 h 1750685"/>
              <a:gd name="connsiteX12" fmla="*/ 1432379 w 2387298"/>
              <a:gd name="connsiteY12" fmla="*/ 1273226 h 1750685"/>
              <a:gd name="connsiteX13" fmla="*/ 1591532 w 2387298"/>
              <a:gd name="connsiteY13" fmla="*/ 1273226 h 1750685"/>
              <a:gd name="connsiteX14" fmla="*/ 1591532 w 2387298"/>
              <a:gd name="connsiteY14" fmla="*/ 1432379 h 1750685"/>
              <a:gd name="connsiteX15" fmla="*/ 1273226 w 2387298"/>
              <a:gd name="connsiteY15" fmla="*/ 795766 h 1750685"/>
              <a:gd name="connsiteX16" fmla="*/ 1114073 w 2387298"/>
              <a:gd name="connsiteY16" fmla="*/ 795766 h 1750685"/>
              <a:gd name="connsiteX17" fmla="*/ 1114073 w 2387298"/>
              <a:gd name="connsiteY17" fmla="*/ 636613 h 1750685"/>
              <a:gd name="connsiteX18" fmla="*/ 1273226 w 2387298"/>
              <a:gd name="connsiteY18" fmla="*/ 636613 h 1750685"/>
              <a:gd name="connsiteX19" fmla="*/ 1273226 w 2387298"/>
              <a:gd name="connsiteY19" fmla="*/ 795766 h 1750685"/>
              <a:gd name="connsiteX20" fmla="*/ 1273226 w 2387298"/>
              <a:gd name="connsiteY20" fmla="*/ 1114073 h 1750685"/>
              <a:gd name="connsiteX21" fmla="*/ 1114073 w 2387298"/>
              <a:gd name="connsiteY21" fmla="*/ 1114073 h 1750685"/>
              <a:gd name="connsiteX22" fmla="*/ 1114073 w 2387298"/>
              <a:gd name="connsiteY22" fmla="*/ 954919 h 1750685"/>
              <a:gd name="connsiteX23" fmla="*/ 1273226 w 2387298"/>
              <a:gd name="connsiteY23" fmla="*/ 954919 h 1750685"/>
              <a:gd name="connsiteX24" fmla="*/ 1273226 w 2387298"/>
              <a:gd name="connsiteY24" fmla="*/ 1114073 h 1750685"/>
              <a:gd name="connsiteX25" fmla="*/ 1273226 w 2387298"/>
              <a:gd name="connsiteY25" fmla="*/ 1432379 h 1750685"/>
              <a:gd name="connsiteX26" fmla="*/ 1114073 w 2387298"/>
              <a:gd name="connsiteY26" fmla="*/ 1432379 h 1750685"/>
              <a:gd name="connsiteX27" fmla="*/ 1114073 w 2387298"/>
              <a:gd name="connsiteY27" fmla="*/ 1273226 h 1750685"/>
              <a:gd name="connsiteX28" fmla="*/ 1273226 w 2387298"/>
              <a:gd name="connsiteY28" fmla="*/ 1273226 h 1750685"/>
              <a:gd name="connsiteX29" fmla="*/ 1273226 w 2387298"/>
              <a:gd name="connsiteY29" fmla="*/ 1432379 h 1750685"/>
              <a:gd name="connsiteX30" fmla="*/ 954919 w 2387298"/>
              <a:gd name="connsiteY30" fmla="*/ 795766 h 1750685"/>
              <a:gd name="connsiteX31" fmla="*/ 795766 w 2387298"/>
              <a:gd name="connsiteY31" fmla="*/ 795766 h 1750685"/>
              <a:gd name="connsiteX32" fmla="*/ 795766 w 2387298"/>
              <a:gd name="connsiteY32" fmla="*/ 636613 h 1750685"/>
              <a:gd name="connsiteX33" fmla="*/ 954919 w 2387298"/>
              <a:gd name="connsiteY33" fmla="*/ 636613 h 1750685"/>
              <a:gd name="connsiteX34" fmla="*/ 954919 w 2387298"/>
              <a:gd name="connsiteY34" fmla="*/ 795766 h 1750685"/>
              <a:gd name="connsiteX35" fmla="*/ 954919 w 2387298"/>
              <a:gd name="connsiteY35" fmla="*/ 1114073 h 1750685"/>
              <a:gd name="connsiteX36" fmla="*/ 795766 w 2387298"/>
              <a:gd name="connsiteY36" fmla="*/ 1114073 h 1750685"/>
              <a:gd name="connsiteX37" fmla="*/ 795766 w 2387298"/>
              <a:gd name="connsiteY37" fmla="*/ 954919 h 1750685"/>
              <a:gd name="connsiteX38" fmla="*/ 954919 w 2387298"/>
              <a:gd name="connsiteY38" fmla="*/ 954919 h 1750685"/>
              <a:gd name="connsiteX39" fmla="*/ 954919 w 2387298"/>
              <a:gd name="connsiteY39" fmla="*/ 1114073 h 1750685"/>
              <a:gd name="connsiteX40" fmla="*/ 954919 w 2387298"/>
              <a:gd name="connsiteY40" fmla="*/ 1432379 h 1750685"/>
              <a:gd name="connsiteX41" fmla="*/ 795766 w 2387298"/>
              <a:gd name="connsiteY41" fmla="*/ 1432379 h 1750685"/>
              <a:gd name="connsiteX42" fmla="*/ 795766 w 2387298"/>
              <a:gd name="connsiteY42" fmla="*/ 1273226 h 1750685"/>
              <a:gd name="connsiteX43" fmla="*/ 954919 w 2387298"/>
              <a:gd name="connsiteY43" fmla="*/ 1273226 h 1750685"/>
              <a:gd name="connsiteX44" fmla="*/ 954919 w 2387298"/>
              <a:gd name="connsiteY44" fmla="*/ 1432379 h 1750685"/>
              <a:gd name="connsiteX45" fmla="*/ 1830262 w 2387298"/>
              <a:gd name="connsiteY45" fmla="*/ 358095 h 1750685"/>
              <a:gd name="connsiteX46" fmla="*/ 1830262 w 2387298"/>
              <a:gd name="connsiteY46" fmla="*/ 119365 h 1750685"/>
              <a:gd name="connsiteX47" fmla="*/ 1710897 w 2387298"/>
              <a:gd name="connsiteY47" fmla="*/ 0 h 1750685"/>
              <a:gd name="connsiteX48" fmla="*/ 1591532 w 2387298"/>
              <a:gd name="connsiteY48" fmla="*/ 119365 h 1750685"/>
              <a:gd name="connsiteX49" fmla="*/ 1591532 w 2387298"/>
              <a:gd name="connsiteY49" fmla="*/ 318306 h 1750685"/>
              <a:gd name="connsiteX50" fmla="*/ 795766 w 2387298"/>
              <a:gd name="connsiteY50" fmla="*/ 318306 h 1750685"/>
              <a:gd name="connsiteX51" fmla="*/ 795766 w 2387298"/>
              <a:gd name="connsiteY51" fmla="*/ 119365 h 1750685"/>
              <a:gd name="connsiteX52" fmla="*/ 676401 w 2387298"/>
              <a:gd name="connsiteY52" fmla="*/ 0 h 1750685"/>
              <a:gd name="connsiteX53" fmla="*/ 557036 w 2387298"/>
              <a:gd name="connsiteY53" fmla="*/ 119365 h 1750685"/>
              <a:gd name="connsiteX54" fmla="*/ 557036 w 2387298"/>
              <a:gd name="connsiteY54" fmla="*/ 358095 h 1750685"/>
              <a:gd name="connsiteX55" fmla="*/ 91513 w 2387298"/>
              <a:gd name="connsiteY55" fmla="*/ 823618 h 1750685"/>
              <a:gd name="connsiteX56" fmla="*/ 0 w 2387298"/>
              <a:gd name="connsiteY56" fmla="*/ 1050411 h 1750685"/>
              <a:gd name="connsiteX57" fmla="*/ 0 w 2387298"/>
              <a:gd name="connsiteY57" fmla="*/ 1750685 h 1750685"/>
              <a:gd name="connsiteX58" fmla="*/ 2387298 w 2387298"/>
              <a:gd name="connsiteY58" fmla="*/ 1750685 h 1750685"/>
              <a:gd name="connsiteX59" fmla="*/ 2387298 w 2387298"/>
              <a:gd name="connsiteY59" fmla="*/ 1046432 h 1750685"/>
              <a:gd name="connsiteX60" fmla="*/ 2295785 w 2387298"/>
              <a:gd name="connsiteY60" fmla="*/ 819639 h 1750685"/>
              <a:gd name="connsiteX61" fmla="*/ 1830262 w 2387298"/>
              <a:gd name="connsiteY61" fmla="*/ 358095 h 1750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2387298" h="1750685">
                <a:moveTo>
                  <a:pt x="1591532" y="795766"/>
                </a:moveTo>
                <a:lnTo>
                  <a:pt x="1432379" y="795766"/>
                </a:lnTo>
                <a:lnTo>
                  <a:pt x="1432379" y="636613"/>
                </a:lnTo>
                <a:lnTo>
                  <a:pt x="1591532" y="636613"/>
                </a:lnTo>
                <a:lnTo>
                  <a:pt x="1591532" y="795766"/>
                </a:lnTo>
                <a:close/>
                <a:moveTo>
                  <a:pt x="1591532" y="1114073"/>
                </a:moveTo>
                <a:lnTo>
                  <a:pt x="1432379" y="1114073"/>
                </a:lnTo>
                <a:lnTo>
                  <a:pt x="1432379" y="954919"/>
                </a:lnTo>
                <a:lnTo>
                  <a:pt x="1591532" y="954919"/>
                </a:lnTo>
                <a:lnTo>
                  <a:pt x="1591532" y="1114073"/>
                </a:lnTo>
                <a:close/>
                <a:moveTo>
                  <a:pt x="1591532" y="1432379"/>
                </a:moveTo>
                <a:lnTo>
                  <a:pt x="1432379" y="1432379"/>
                </a:lnTo>
                <a:lnTo>
                  <a:pt x="1432379" y="1273226"/>
                </a:lnTo>
                <a:lnTo>
                  <a:pt x="1591532" y="1273226"/>
                </a:lnTo>
                <a:lnTo>
                  <a:pt x="1591532" y="1432379"/>
                </a:lnTo>
                <a:close/>
                <a:moveTo>
                  <a:pt x="1273226" y="795766"/>
                </a:moveTo>
                <a:lnTo>
                  <a:pt x="1114073" y="795766"/>
                </a:lnTo>
                <a:lnTo>
                  <a:pt x="1114073" y="636613"/>
                </a:lnTo>
                <a:lnTo>
                  <a:pt x="1273226" y="636613"/>
                </a:lnTo>
                <a:lnTo>
                  <a:pt x="1273226" y="795766"/>
                </a:lnTo>
                <a:close/>
                <a:moveTo>
                  <a:pt x="1273226" y="1114073"/>
                </a:moveTo>
                <a:lnTo>
                  <a:pt x="1114073" y="1114073"/>
                </a:lnTo>
                <a:lnTo>
                  <a:pt x="1114073" y="954919"/>
                </a:lnTo>
                <a:lnTo>
                  <a:pt x="1273226" y="954919"/>
                </a:lnTo>
                <a:lnTo>
                  <a:pt x="1273226" y="1114073"/>
                </a:lnTo>
                <a:close/>
                <a:moveTo>
                  <a:pt x="1273226" y="1432379"/>
                </a:moveTo>
                <a:lnTo>
                  <a:pt x="1114073" y="1432379"/>
                </a:lnTo>
                <a:lnTo>
                  <a:pt x="1114073" y="1273226"/>
                </a:lnTo>
                <a:lnTo>
                  <a:pt x="1273226" y="1273226"/>
                </a:lnTo>
                <a:lnTo>
                  <a:pt x="1273226" y="1432379"/>
                </a:lnTo>
                <a:close/>
                <a:moveTo>
                  <a:pt x="954919" y="795766"/>
                </a:moveTo>
                <a:lnTo>
                  <a:pt x="795766" y="795766"/>
                </a:lnTo>
                <a:lnTo>
                  <a:pt x="795766" y="636613"/>
                </a:lnTo>
                <a:lnTo>
                  <a:pt x="954919" y="636613"/>
                </a:lnTo>
                <a:lnTo>
                  <a:pt x="954919" y="795766"/>
                </a:lnTo>
                <a:close/>
                <a:moveTo>
                  <a:pt x="954919" y="1114073"/>
                </a:moveTo>
                <a:lnTo>
                  <a:pt x="795766" y="1114073"/>
                </a:lnTo>
                <a:lnTo>
                  <a:pt x="795766" y="954919"/>
                </a:lnTo>
                <a:lnTo>
                  <a:pt x="954919" y="954919"/>
                </a:lnTo>
                <a:lnTo>
                  <a:pt x="954919" y="1114073"/>
                </a:lnTo>
                <a:close/>
                <a:moveTo>
                  <a:pt x="954919" y="1432379"/>
                </a:moveTo>
                <a:lnTo>
                  <a:pt x="795766" y="1432379"/>
                </a:lnTo>
                <a:lnTo>
                  <a:pt x="795766" y="1273226"/>
                </a:lnTo>
                <a:lnTo>
                  <a:pt x="954919" y="1273226"/>
                </a:lnTo>
                <a:lnTo>
                  <a:pt x="954919" y="1432379"/>
                </a:lnTo>
                <a:close/>
                <a:moveTo>
                  <a:pt x="1830262" y="358095"/>
                </a:moveTo>
                <a:lnTo>
                  <a:pt x="1830262" y="119365"/>
                </a:lnTo>
                <a:cubicBezTo>
                  <a:pt x="1830262" y="51725"/>
                  <a:pt x="1778537" y="0"/>
                  <a:pt x="1710897" y="0"/>
                </a:cubicBezTo>
                <a:cubicBezTo>
                  <a:pt x="1643257" y="0"/>
                  <a:pt x="1591532" y="51725"/>
                  <a:pt x="1591532" y="119365"/>
                </a:cubicBezTo>
                <a:lnTo>
                  <a:pt x="1591532" y="318306"/>
                </a:lnTo>
                <a:lnTo>
                  <a:pt x="795766" y="318306"/>
                </a:lnTo>
                <a:lnTo>
                  <a:pt x="795766" y="119365"/>
                </a:lnTo>
                <a:cubicBezTo>
                  <a:pt x="795766" y="51725"/>
                  <a:pt x="744041" y="0"/>
                  <a:pt x="676401" y="0"/>
                </a:cubicBezTo>
                <a:cubicBezTo>
                  <a:pt x="608761" y="0"/>
                  <a:pt x="557036" y="51725"/>
                  <a:pt x="557036" y="119365"/>
                </a:cubicBezTo>
                <a:lnTo>
                  <a:pt x="557036" y="358095"/>
                </a:lnTo>
                <a:lnTo>
                  <a:pt x="91513" y="823618"/>
                </a:lnTo>
                <a:cubicBezTo>
                  <a:pt x="31831" y="883300"/>
                  <a:pt x="0" y="962877"/>
                  <a:pt x="0" y="1050411"/>
                </a:cubicBezTo>
                <a:lnTo>
                  <a:pt x="0" y="1750685"/>
                </a:lnTo>
                <a:lnTo>
                  <a:pt x="2387298" y="1750685"/>
                </a:lnTo>
                <a:lnTo>
                  <a:pt x="2387298" y="1046432"/>
                </a:lnTo>
                <a:cubicBezTo>
                  <a:pt x="2387298" y="962877"/>
                  <a:pt x="2355467" y="879321"/>
                  <a:pt x="2295785" y="819639"/>
                </a:cubicBezTo>
                <a:lnTo>
                  <a:pt x="1830262" y="358095"/>
                </a:lnTo>
                <a:close/>
              </a:path>
            </a:pathLst>
          </a:custGeom>
          <a:solidFill>
            <a:srgbClr val="000000"/>
          </a:solidFill>
          <a:ln w="39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658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0485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DF1B4AC5-BA9F-4977-9E67-5716B53A96F2}"/>
              </a:ext>
            </a:extLst>
          </p:cNvPr>
          <p:cNvGrpSpPr/>
          <p:nvPr/>
        </p:nvGrpSpPr>
        <p:grpSpPr>
          <a:xfrm>
            <a:off x="-7653058" y="407326"/>
            <a:ext cx="7498080" cy="5867400"/>
            <a:chOff x="-7653058" y="407326"/>
            <a:chExt cx="7498080" cy="5867400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9E5629EE-1934-4583-9FE6-6B2297C26849}"/>
                </a:ext>
              </a:extLst>
            </p:cNvPr>
            <p:cNvGrpSpPr/>
            <p:nvPr/>
          </p:nvGrpSpPr>
          <p:grpSpPr>
            <a:xfrm>
              <a:off x="-7653058" y="407326"/>
              <a:ext cx="7498080" cy="5867400"/>
              <a:chOff x="-7653058" y="407326"/>
              <a:chExt cx="7498080" cy="5867400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9B2115D-5A4B-4130-B845-6CCE7F0C74C4}"/>
                  </a:ext>
                </a:extLst>
              </p:cNvPr>
              <p:cNvSpPr/>
              <p:nvPr/>
            </p:nvSpPr>
            <p:spPr>
              <a:xfrm>
                <a:off x="-7653058" y="407326"/>
                <a:ext cx="7498080" cy="5867400"/>
              </a:xfrm>
              <a:prstGeom prst="rect">
                <a:avLst/>
              </a:prstGeom>
              <a:solidFill>
                <a:schemeClr val="bg1"/>
              </a:solidFill>
              <a:ln w="762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1" name="Graphic 20">
                <a:extLst>
                  <a:ext uri="{FF2B5EF4-FFF2-40B4-BE49-F238E27FC236}">
                    <a16:creationId xmlns:a16="http://schemas.microsoft.com/office/drawing/2014/main" id="{CD9CDCAE-4244-4C81-B0E2-9992F1A36E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-5090537" y="1901228"/>
                <a:ext cx="1613535" cy="2904363"/>
              </a:xfrm>
              <a:prstGeom prst="rect">
                <a:avLst/>
              </a:prstGeom>
            </p:spPr>
          </p:pic>
          <p:pic>
            <p:nvPicPr>
              <p:cNvPr id="22" name="Graphic 21">
                <a:extLst>
                  <a:ext uri="{FF2B5EF4-FFF2-40B4-BE49-F238E27FC236}">
                    <a16:creationId xmlns:a16="http://schemas.microsoft.com/office/drawing/2014/main" id="{F7ED40C3-BFCE-4391-9E96-361D733982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-6167733" y="3328680"/>
                <a:ext cx="3273171" cy="2320417"/>
              </a:xfrm>
              <a:prstGeom prst="rect">
                <a:avLst/>
              </a:prstGeom>
            </p:spPr>
          </p:pic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DAE29E50-5901-4FC9-98D2-41B72ADFA0D4}"/>
                  </a:ext>
                </a:extLst>
              </p:cNvPr>
              <p:cNvSpPr/>
              <p:nvPr/>
            </p:nvSpPr>
            <p:spPr>
              <a:xfrm>
                <a:off x="-3831011" y="2299763"/>
                <a:ext cx="339436" cy="63038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D7B62BBD-2F70-4AEA-BBDC-2E233C7A87CB}"/>
                  </a:ext>
                </a:extLst>
              </p:cNvPr>
              <p:cNvSpPr/>
              <p:nvPr/>
            </p:nvSpPr>
            <p:spPr>
              <a:xfrm>
                <a:off x="-5077925" y="2315032"/>
                <a:ext cx="339436" cy="63038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7DAB764A-F188-4CB0-B71A-46086A1918BD}"/>
                  </a:ext>
                </a:extLst>
              </p:cNvPr>
              <p:cNvSpPr/>
              <p:nvPr/>
            </p:nvSpPr>
            <p:spPr>
              <a:xfrm rot="3544034">
                <a:off x="-4109779" y="2890959"/>
                <a:ext cx="108207" cy="20646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Arc 25">
                <a:extLst>
                  <a:ext uri="{FF2B5EF4-FFF2-40B4-BE49-F238E27FC236}">
                    <a16:creationId xmlns:a16="http://schemas.microsoft.com/office/drawing/2014/main" id="{31D488EE-819A-4182-9632-AC70359F2375}"/>
                  </a:ext>
                </a:extLst>
              </p:cNvPr>
              <p:cNvSpPr/>
              <p:nvPr/>
            </p:nvSpPr>
            <p:spPr>
              <a:xfrm rot="3945370">
                <a:off x="-4093894" y="2545662"/>
                <a:ext cx="218684" cy="584464"/>
              </a:xfrm>
              <a:prstGeom prst="arc">
                <a:avLst>
                  <a:gd name="adj1" fmla="val 16643437"/>
                  <a:gd name="adj2" fmla="val 3655578"/>
                </a:avLst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6B5465EA-8501-43A1-9D22-B9E07F9B4794}"/>
                  </a:ext>
                </a:extLst>
              </p:cNvPr>
              <p:cNvGrpSpPr/>
              <p:nvPr/>
            </p:nvGrpSpPr>
            <p:grpSpPr>
              <a:xfrm rot="587514">
                <a:off x="-5461495" y="3593847"/>
                <a:ext cx="515727" cy="515727"/>
                <a:chOff x="1507830" y="2703051"/>
                <a:chExt cx="624030" cy="624030"/>
              </a:xfrm>
            </p:grpSpPr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id="{74BDA23D-7972-4635-A166-39D554B24164}"/>
                    </a:ext>
                  </a:extLst>
                </p:cNvPr>
                <p:cNvSpPr/>
                <p:nvPr/>
              </p:nvSpPr>
              <p:spPr>
                <a:xfrm>
                  <a:off x="1507830" y="2703051"/>
                  <a:ext cx="624030" cy="624030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3" name="Plus Sign 32">
                  <a:extLst>
                    <a:ext uri="{FF2B5EF4-FFF2-40B4-BE49-F238E27FC236}">
                      <a16:creationId xmlns:a16="http://schemas.microsoft.com/office/drawing/2014/main" id="{6938268B-2D71-43FB-862E-42278764386C}"/>
                    </a:ext>
                  </a:extLst>
                </p:cNvPr>
                <p:cNvSpPr/>
                <p:nvPr/>
              </p:nvSpPr>
              <p:spPr>
                <a:xfrm>
                  <a:off x="1547437" y="2757759"/>
                  <a:ext cx="548640" cy="548640"/>
                </a:xfrm>
                <a:prstGeom prst="mathPlus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90CEF352-28DE-47A1-A830-647EE0371175}"/>
                </a:ext>
              </a:extLst>
            </p:cNvPr>
            <p:cNvSpPr/>
            <p:nvPr/>
          </p:nvSpPr>
          <p:spPr>
            <a:xfrm>
              <a:off x="-4290948" y="2964867"/>
              <a:ext cx="67187" cy="128196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7" name="Graphic 26" descr="Lightning bolt">
            <a:extLst>
              <a:ext uri="{FF2B5EF4-FFF2-40B4-BE49-F238E27FC236}">
                <a16:creationId xmlns:a16="http://schemas.microsoft.com/office/drawing/2014/main" id="{E183AD74-0932-4626-95BE-5BBE643F908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9120886">
            <a:off x="-6218854" y="1180893"/>
            <a:ext cx="1472650" cy="1472650"/>
          </a:xfrm>
          <a:prstGeom prst="rect">
            <a:avLst/>
          </a:prstGeom>
        </p:spPr>
      </p:pic>
      <p:pic>
        <p:nvPicPr>
          <p:cNvPr id="28" name="Graphic 27" descr="Lightning bolt">
            <a:extLst>
              <a:ext uri="{FF2B5EF4-FFF2-40B4-BE49-F238E27FC236}">
                <a16:creationId xmlns:a16="http://schemas.microsoft.com/office/drawing/2014/main" id="{7E371614-E0C5-4730-9F59-29857739744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20410352">
            <a:off x="-5104012" y="493566"/>
            <a:ext cx="1472650" cy="1472650"/>
          </a:xfrm>
          <a:prstGeom prst="rect">
            <a:avLst/>
          </a:prstGeom>
        </p:spPr>
      </p:pic>
      <p:pic>
        <p:nvPicPr>
          <p:cNvPr id="29" name="Graphic 28" descr="Lightning bolt">
            <a:extLst>
              <a:ext uri="{FF2B5EF4-FFF2-40B4-BE49-F238E27FC236}">
                <a16:creationId xmlns:a16="http://schemas.microsoft.com/office/drawing/2014/main" id="{9AAC2387-77BD-4869-99AD-807C896682D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757825">
            <a:off x="-4048325" y="747610"/>
            <a:ext cx="1472650" cy="1472650"/>
          </a:xfrm>
          <a:prstGeom prst="rect">
            <a:avLst/>
          </a:prstGeom>
        </p:spPr>
      </p:pic>
      <p:pic>
        <p:nvPicPr>
          <p:cNvPr id="30" name="Graphic 29" descr="Lightning bolt">
            <a:extLst>
              <a:ext uri="{FF2B5EF4-FFF2-40B4-BE49-F238E27FC236}">
                <a16:creationId xmlns:a16="http://schemas.microsoft.com/office/drawing/2014/main" id="{F6100D8D-1CCE-49E2-804F-56FA93D061D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3064637">
            <a:off x="-3549016" y="1435993"/>
            <a:ext cx="1472650" cy="14726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sp>
        <p:nvSpPr>
          <p:cNvPr id="2" name="Arc 1">
            <a:extLst>
              <a:ext uri="{FF2B5EF4-FFF2-40B4-BE49-F238E27FC236}">
                <a16:creationId xmlns:a16="http://schemas.microsoft.com/office/drawing/2014/main" id="{16E0F010-D42B-41EF-9A76-EA4A5F1FFE2A}"/>
              </a:ext>
            </a:extLst>
          </p:cNvPr>
          <p:cNvSpPr/>
          <p:nvPr/>
        </p:nvSpPr>
        <p:spPr>
          <a:xfrm rot="18887904">
            <a:off x="89221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E39A87B4-C3D0-489D-9F1D-A532A3EB6B6A}"/>
              </a:ext>
            </a:extLst>
          </p:cNvPr>
          <p:cNvSpPr/>
          <p:nvPr/>
        </p:nvSpPr>
        <p:spPr>
          <a:xfrm>
            <a:off x="2275053" y="2865031"/>
            <a:ext cx="3038920" cy="1001945"/>
          </a:xfrm>
          <a:custGeom>
            <a:avLst/>
            <a:gdLst>
              <a:gd name="connsiteX0" fmla="*/ 2959797 w 3038920"/>
              <a:gd name="connsiteY0" fmla="*/ 393904 h 1001945"/>
              <a:gd name="connsiteX1" fmla="*/ 1519460 w 3038920"/>
              <a:gd name="connsiteY1" fmla="*/ 0 h 1001945"/>
              <a:gd name="connsiteX2" fmla="*/ 79124 w 3038920"/>
              <a:gd name="connsiteY2" fmla="*/ 393904 h 1001945"/>
              <a:gd name="connsiteX3" fmla="*/ 27399 w 3038920"/>
              <a:gd name="connsiteY3" fmla="*/ 620697 h 1001945"/>
              <a:gd name="connsiteX4" fmla="*/ 238277 w 3038920"/>
              <a:gd name="connsiteY4" fmla="*/ 931046 h 1001945"/>
              <a:gd name="connsiteX5" fmla="*/ 480985 w 3038920"/>
              <a:gd name="connsiteY5" fmla="*/ 954919 h 1001945"/>
              <a:gd name="connsiteX6" fmla="*/ 675948 w 3038920"/>
              <a:gd name="connsiteY6" fmla="*/ 759957 h 1001945"/>
              <a:gd name="connsiteX7" fmla="*/ 723694 w 3038920"/>
              <a:gd name="connsiteY7" fmla="*/ 648549 h 1001945"/>
              <a:gd name="connsiteX8" fmla="*/ 723694 w 3038920"/>
              <a:gd name="connsiteY8" fmla="*/ 445629 h 1001945"/>
              <a:gd name="connsiteX9" fmla="*/ 1519460 w 3038920"/>
              <a:gd name="connsiteY9" fmla="*/ 314328 h 1001945"/>
              <a:gd name="connsiteX10" fmla="*/ 2315226 w 3038920"/>
              <a:gd name="connsiteY10" fmla="*/ 445629 h 1001945"/>
              <a:gd name="connsiteX11" fmla="*/ 2315226 w 3038920"/>
              <a:gd name="connsiteY11" fmla="*/ 648549 h 1001945"/>
              <a:gd name="connsiteX12" fmla="*/ 2362972 w 3038920"/>
              <a:gd name="connsiteY12" fmla="*/ 759957 h 1001945"/>
              <a:gd name="connsiteX13" fmla="*/ 2557935 w 3038920"/>
              <a:gd name="connsiteY13" fmla="*/ 954919 h 1001945"/>
              <a:gd name="connsiteX14" fmla="*/ 2800643 w 3038920"/>
              <a:gd name="connsiteY14" fmla="*/ 931046 h 1001945"/>
              <a:gd name="connsiteX15" fmla="*/ 3011522 w 3038920"/>
              <a:gd name="connsiteY15" fmla="*/ 620697 h 1001945"/>
              <a:gd name="connsiteX16" fmla="*/ 2959797 w 3038920"/>
              <a:gd name="connsiteY16" fmla="*/ 393904 h 1001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38920" h="1001945">
                <a:moveTo>
                  <a:pt x="2959797" y="393904"/>
                </a:moveTo>
                <a:cubicBezTo>
                  <a:pt x="2538041" y="143238"/>
                  <a:pt x="2044666" y="0"/>
                  <a:pt x="1519460" y="0"/>
                </a:cubicBezTo>
                <a:cubicBezTo>
                  <a:pt x="994254" y="0"/>
                  <a:pt x="500880" y="143238"/>
                  <a:pt x="79124" y="393904"/>
                </a:cubicBezTo>
                <a:cubicBezTo>
                  <a:pt x="-453" y="441650"/>
                  <a:pt x="-24326" y="545100"/>
                  <a:pt x="27399" y="620697"/>
                </a:cubicBezTo>
                <a:lnTo>
                  <a:pt x="238277" y="931046"/>
                </a:lnTo>
                <a:cubicBezTo>
                  <a:pt x="293980" y="1014602"/>
                  <a:pt x="413345" y="1026538"/>
                  <a:pt x="480985" y="954919"/>
                </a:cubicBezTo>
                <a:lnTo>
                  <a:pt x="675948" y="759957"/>
                </a:lnTo>
                <a:cubicBezTo>
                  <a:pt x="707779" y="728126"/>
                  <a:pt x="723694" y="688338"/>
                  <a:pt x="723694" y="648549"/>
                </a:cubicBezTo>
                <a:lnTo>
                  <a:pt x="723694" y="445629"/>
                </a:lnTo>
                <a:cubicBezTo>
                  <a:pt x="974360" y="362074"/>
                  <a:pt x="1240942" y="314328"/>
                  <a:pt x="1519460" y="314328"/>
                </a:cubicBezTo>
                <a:cubicBezTo>
                  <a:pt x="1797978" y="314328"/>
                  <a:pt x="2064560" y="362074"/>
                  <a:pt x="2315226" y="445629"/>
                </a:cubicBezTo>
                <a:lnTo>
                  <a:pt x="2315226" y="648549"/>
                </a:lnTo>
                <a:cubicBezTo>
                  <a:pt x="2315226" y="692317"/>
                  <a:pt x="2331142" y="732105"/>
                  <a:pt x="2362972" y="759957"/>
                </a:cubicBezTo>
                <a:lnTo>
                  <a:pt x="2557935" y="954919"/>
                </a:lnTo>
                <a:cubicBezTo>
                  <a:pt x="2629554" y="1026538"/>
                  <a:pt x="2744940" y="1014602"/>
                  <a:pt x="2800643" y="931046"/>
                </a:cubicBezTo>
                <a:lnTo>
                  <a:pt x="3011522" y="620697"/>
                </a:lnTo>
                <a:cubicBezTo>
                  <a:pt x="3063246" y="545100"/>
                  <a:pt x="3039373" y="441650"/>
                  <a:pt x="2959797" y="393904"/>
                </a:cubicBezTo>
                <a:close/>
              </a:path>
            </a:pathLst>
          </a:custGeom>
          <a:solidFill>
            <a:srgbClr val="000000"/>
          </a:solidFill>
          <a:ln w="39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1873761-C0EA-44E0-82CA-7D4BEFE18AA1}"/>
              </a:ext>
            </a:extLst>
          </p:cNvPr>
          <p:cNvSpPr/>
          <p:nvPr/>
        </p:nvSpPr>
        <p:spPr>
          <a:xfrm>
            <a:off x="2593244" y="3445543"/>
            <a:ext cx="2387298" cy="1750685"/>
          </a:xfrm>
          <a:custGeom>
            <a:avLst/>
            <a:gdLst>
              <a:gd name="connsiteX0" fmla="*/ 1591532 w 2387298"/>
              <a:gd name="connsiteY0" fmla="*/ 795766 h 1750685"/>
              <a:gd name="connsiteX1" fmla="*/ 1432379 w 2387298"/>
              <a:gd name="connsiteY1" fmla="*/ 795766 h 1750685"/>
              <a:gd name="connsiteX2" fmla="*/ 1432379 w 2387298"/>
              <a:gd name="connsiteY2" fmla="*/ 636613 h 1750685"/>
              <a:gd name="connsiteX3" fmla="*/ 1591532 w 2387298"/>
              <a:gd name="connsiteY3" fmla="*/ 636613 h 1750685"/>
              <a:gd name="connsiteX4" fmla="*/ 1591532 w 2387298"/>
              <a:gd name="connsiteY4" fmla="*/ 795766 h 1750685"/>
              <a:gd name="connsiteX5" fmla="*/ 1591532 w 2387298"/>
              <a:gd name="connsiteY5" fmla="*/ 1114073 h 1750685"/>
              <a:gd name="connsiteX6" fmla="*/ 1432379 w 2387298"/>
              <a:gd name="connsiteY6" fmla="*/ 1114073 h 1750685"/>
              <a:gd name="connsiteX7" fmla="*/ 1432379 w 2387298"/>
              <a:gd name="connsiteY7" fmla="*/ 954919 h 1750685"/>
              <a:gd name="connsiteX8" fmla="*/ 1591532 w 2387298"/>
              <a:gd name="connsiteY8" fmla="*/ 954919 h 1750685"/>
              <a:gd name="connsiteX9" fmla="*/ 1591532 w 2387298"/>
              <a:gd name="connsiteY9" fmla="*/ 1114073 h 1750685"/>
              <a:gd name="connsiteX10" fmla="*/ 1591532 w 2387298"/>
              <a:gd name="connsiteY10" fmla="*/ 1432379 h 1750685"/>
              <a:gd name="connsiteX11" fmla="*/ 1432379 w 2387298"/>
              <a:gd name="connsiteY11" fmla="*/ 1432379 h 1750685"/>
              <a:gd name="connsiteX12" fmla="*/ 1432379 w 2387298"/>
              <a:gd name="connsiteY12" fmla="*/ 1273226 h 1750685"/>
              <a:gd name="connsiteX13" fmla="*/ 1591532 w 2387298"/>
              <a:gd name="connsiteY13" fmla="*/ 1273226 h 1750685"/>
              <a:gd name="connsiteX14" fmla="*/ 1591532 w 2387298"/>
              <a:gd name="connsiteY14" fmla="*/ 1432379 h 1750685"/>
              <a:gd name="connsiteX15" fmla="*/ 1273226 w 2387298"/>
              <a:gd name="connsiteY15" fmla="*/ 795766 h 1750685"/>
              <a:gd name="connsiteX16" fmla="*/ 1114073 w 2387298"/>
              <a:gd name="connsiteY16" fmla="*/ 795766 h 1750685"/>
              <a:gd name="connsiteX17" fmla="*/ 1114073 w 2387298"/>
              <a:gd name="connsiteY17" fmla="*/ 636613 h 1750685"/>
              <a:gd name="connsiteX18" fmla="*/ 1273226 w 2387298"/>
              <a:gd name="connsiteY18" fmla="*/ 636613 h 1750685"/>
              <a:gd name="connsiteX19" fmla="*/ 1273226 w 2387298"/>
              <a:gd name="connsiteY19" fmla="*/ 795766 h 1750685"/>
              <a:gd name="connsiteX20" fmla="*/ 1273226 w 2387298"/>
              <a:gd name="connsiteY20" fmla="*/ 1114073 h 1750685"/>
              <a:gd name="connsiteX21" fmla="*/ 1114073 w 2387298"/>
              <a:gd name="connsiteY21" fmla="*/ 1114073 h 1750685"/>
              <a:gd name="connsiteX22" fmla="*/ 1114073 w 2387298"/>
              <a:gd name="connsiteY22" fmla="*/ 954919 h 1750685"/>
              <a:gd name="connsiteX23" fmla="*/ 1273226 w 2387298"/>
              <a:gd name="connsiteY23" fmla="*/ 954919 h 1750685"/>
              <a:gd name="connsiteX24" fmla="*/ 1273226 w 2387298"/>
              <a:gd name="connsiteY24" fmla="*/ 1114073 h 1750685"/>
              <a:gd name="connsiteX25" fmla="*/ 1273226 w 2387298"/>
              <a:gd name="connsiteY25" fmla="*/ 1432379 h 1750685"/>
              <a:gd name="connsiteX26" fmla="*/ 1114073 w 2387298"/>
              <a:gd name="connsiteY26" fmla="*/ 1432379 h 1750685"/>
              <a:gd name="connsiteX27" fmla="*/ 1114073 w 2387298"/>
              <a:gd name="connsiteY27" fmla="*/ 1273226 h 1750685"/>
              <a:gd name="connsiteX28" fmla="*/ 1273226 w 2387298"/>
              <a:gd name="connsiteY28" fmla="*/ 1273226 h 1750685"/>
              <a:gd name="connsiteX29" fmla="*/ 1273226 w 2387298"/>
              <a:gd name="connsiteY29" fmla="*/ 1432379 h 1750685"/>
              <a:gd name="connsiteX30" fmla="*/ 954919 w 2387298"/>
              <a:gd name="connsiteY30" fmla="*/ 795766 h 1750685"/>
              <a:gd name="connsiteX31" fmla="*/ 795766 w 2387298"/>
              <a:gd name="connsiteY31" fmla="*/ 795766 h 1750685"/>
              <a:gd name="connsiteX32" fmla="*/ 795766 w 2387298"/>
              <a:gd name="connsiteY32" fmla="*/ 636613 h 1750685"/>
              <a:gd name="connsiteX33" fmla="*/ 954919 w 2387298"/>
              <a:gd name="connsiteY33" fmla="*/ 636613 h 1750685"/>
              <a:gd name="connsiteX34" fmla="*/ 954919 w 2387298"/>
              <a:gd name="connsiteY34" fmla="*/ 795766 h 1750685"/>
              <a:gd name="connsiteX35" fmla="*/ 954919 w 2387298"/>
              <a:gd name="connsiteY35" fmla="*/ 1114073 h 1750685"/>
              <a:gd name="connsiteX36" fmla="*/ 795766 w 2387298"/>
              <a:gd name="connsiteY36" fmla="*/ 1114073 h 1750685"/>
              <a:gd name="connsiteX37" fmla="*/ 795766 w 2387298"/>
              <a:gd name="connsiteY37" fmla="*/ 954919 h 1750685"/>
              <a:gd name="connsiteX38" fmla="*/ 954919 w 2387298"/>
              <a:gd name="connsiteY38" fmla="*/ 954919 h 1750685"/>
              <a:gd name="connsiteX39" fmla="*/ 954919 w 2387298"/>
              <a:gd name="connsiteY39" fmla="*/ 1114073 h 1750685"/>
              <a:gd name="connsiteX40" fmla="*/ 954919 w 2387298"/>
              <a:gd name="connsiteY40" fmla="*/ 1432379 h 1750685"/>
              <a:gd name="connsiteX41" fmla="*/ 795766 w 2387298"/>
              <a:gd name="connsiteY41" fmla="*/ 1432379 h 1750685"/>
              <a:gd name="connsiteX42" fmla="*/ 795766 w 2387298"/>
              <a:gd name="connsiteY42" fmla="*/ 1273226 h 1750685"/>
              <a:gd name="connsiteX43" fmla="*/ 954919 w 2387298"/>
              <a:gd name="connsiteY43" fmla="*/ 1273226 h 1750685"/>
              <a:gd name="connsiteX44" fmla="*/ 954919 w 2387298"/>
              <a:gd name="connsiteY44" fmla="*/ 1432379 h 1750685"/>
              <a:gd name="connsiteX45" fmla="*/ 1830262 w 2387298"/>
              <a:gd name="connsiteY45" fmla="*/ 358095 h 1750685"/>
              <a:gd name="connsiteX46" fmla="*/ 1830262 w 2387298"/>
              <a:gd name="connsiteY46" fmla="*/ 119365 h 1750685"/>
              <a:gd name="connsiteX47" fmla="*/ 1710897 w 2387298"/>
              <a:gd name="connsiteY47" fmla="*/ 0 h 1750685"/>
              <a:gd name="connsiteX48" fmla="*/ 1591532 w 2387298"/>
              <a:gd name="connsiteY48" fmla="*/ 119365 h 1750685"/>
              <a:gd name="connsiteX49" fmla="*/ 1591532 w 2387298"/>
              <a:gd name="connsiteY49" fmla="*/ 318306 h 1750685"/>
              <a:gd name="connsiteX50" fmla="*/ 795766 w 2387298"/>
              <a:gd name="connsiteY50" fmla="*/ 318306 h 1750685"/>
              <a:gd name="connsiteX51" fmla="*/ 795766 w 2387298"/>
              <a:gd name="connsiteY51" fmla="*/ 119365 h 1750685"/>
              <a:gd name="connsiteX52" fmla="*/ 676401 w 2387298"/>
              <a:gd name="connsiteY52" fmla="*/ 0 h 1750685"/>
              <a:gd name="connsiteX53" fmla="*/ 557036 w 2387298"/>
              <a:gd name="connsiteY53" fmla="*/ 119365 h 1750685"/>
              <a:gd name="connsiteX54" fmla="*/ 557036 w 2387298"/>
              <a:gd name="connsiteY54" fmla="*/ 358095 h 1750685"/>
              <a:gd name="connsiteX55" fmla="*/ 91513 w 2387298"/>
              <a:gd name="connsiteY55" fmla="*/ 823618 h 1750685"/>
              <a:gd name="connsiteX56" fmla="*/ 0 w 2387298"/>
              <a:gd name="connsiteY56" fmla="*/ 1050411 h 1750685"/>
              <a:gd name="connsiteX57" fmla="*/ 0 w 2387298"/>
              <a:gd name="connsiteY57" fmla="*/ 1750685 h 1750685"/>
              <a:gd name="connsiteX58" fmla="*/ 2387298 w 2387298"/>
              <a:gd name="connsiteY58" fmla="*/ 1750685 h 1750685"/>
              <a:gd name="connsiteX59" fmla="*/ 2387298 w 2387298"/>
              <a:gd name="connsiteY59" fmla="*/ 1046432 h 1750685"/>
              <a:gd name="connsiteX60" fmla="*/ 2295785 w 2387298"/>
              <a:gd name="connsiteY60" fmla="*/ 819639 h 1750685"/>
              <a:gd name="connsiteX61" fmla="*/ 1830262 w 2387298"/>
              <a:gd name="connsiteY61" fmla="*/ 358095 h 1750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2387298" h="1750685">
                <a:moveTo>
                  <a:pt x="1591532" y="795766"/>
                </a:moveTo>
                <a:lnTo>
                  <a:pt x="1432379" y="795766"/>
                </a:lnTo>
                <a:lnTo>
                  <a:pt x="1432379" y="636613"/>
                </a:lnTo>
                <a:lnTo>
                  <a:pt x="1591532" y="636613"/>
                </a:lnTo>
                <a:lnTo>
                  <a:pt x="1591532" y="795766"/>
                </a:lnTo>
                <a:close/>
                <a:moveTo>
                  <a:pt x="1591532" y="1114073"/>
                </a:moveTo>
                <a:lnTo>
                  <a:pt x="1432379" y="1114073"/>
                </a:lnTo>
                <a:lnTo>
                  <a:pt x="1432379" y="954919"/>
                </a:lnTo>
                <a:lnTo>
                  <a:pt x="1591532" y="954919"/>
                </a:lnTo>
                <a:lnTo>
                  <a:pt x="1591532" y="1114073"/>
                </a:lnTo>
                <a:close/>
                <a:moveTo>
                  <a:pt x="1591532" y="1432379"/>
                </a:moveTo>
                <a:lnTo>
                  <a:pt x="1432379" y="1432379"/>
                </a:lnTo>
                <a:lnTo>
                  <a:pt x="1432379" y="1273226"/>
                </a:lnTo>
                <a:lnTo>
                  <a:pt x="1591532" y="1273226"/>
                </a:lnTo>
                <a:lnTo>
                  <a:pt x="1591532" y="1432379"/>
                </a:lnTo>
                <a:close/>
                <a:moveTo>
                  <a:pt x="1273226" y="795766"/>
                </a:moveTo>
                <a:lnTo>
                  <a:pt x="1114073" y="795766"/>
                </a:lnTo>
                <a:lnTo>
                  <a:pt x="1114073" y="636613"/>
                </a:lnTo>
                <a:lnTo>
                  <a:pt x="1273226" y="636613"/>
                </a:lnTo>
                <a:lnTo>
                  <a:pt x="1273226" y="795766"/>
                </a:lnTo>
                <a:close/>
                <a:moveTo>
                  <a:pt x="1273226" y="1114073"/>
                </a:moveTo>
                <a:lnTo>
                  <a:pt x="1114073" y="1114073"/>
                </a:lnTo>
                <a:lnTo>
                  <a:pt x="1114073" y="954919"/>
                </a:lnTo>
                <a:lnTo>
                  <a:pt x="1273226" y="954919"/>
                </a:lnTo>
                <a:lnTo>
                  <a:pt x="1273226" y="1114073"/>
                </a:lnTo>
                <a:close/>
                <a:moveTo>
                  <a:pt x="1273226" y="1432379"/>
                </a:moveTo>
                <a:lnTo>
                  <a:pt x="1114073" y="1432379"/>
                </a:lnTo>
                <a:lnTo>
                  <a:pt x="1114073" y="1273226"/>
                </a:lnTo>
                <a:lnTo>
                  <a:pt x="1273226" y="1273226"/>
                </a:lnTo>
                <a:lnTo>
                  <a:pt x="1273226" y="1432379"/>
                </a:lnTo>
                <a:close/>
                <a:moveTo>
                  <a:pt x="954919" y="795766"/>
                </a:moveTo>
                <a:lnTo>
                  <a:pt x="795766" y="795766"/>
                </a:lnTo>
                <a:lnTo>
                  <a:pt x="795766" y="636613"/>
                </a:lnTo>
                <a:lnTo>
                  <a:pt x="954919" y="636613"/>
                </a:lnTo>
                <a:lnTo>
                  <a:pt x="954919" y="795766"/>
                </a:lnTo>
                <a:close/>
                <a:moveTo>
                  <a:pt x="954919" y="1114073"/>
                </a:moveTo>
                <a:lnTo>
                  <a:pt x="795766" y="1114073"/>
                </a:lnTo>
                <a:lnTo>
                  <a:pt x="795766" y="954919"/>
                </a:lnTo>
                <a:lnTo>
                  <a:pt x="954919" y="954919"/>
                </a:lnTo>
                <a:lnTo>
                  <a:pt x="954919" y="1114073"/>
                </a:lnTo>
                <a:close/>
                <a:moveTo>
                  <a:pt x="954919" y="1432379"/>
                </a:moveTo>
                <a:lnTo>
                  <a:pt x="795766" y="1432379"/>
                </a:lnTo>
                <a:lnTo>
                  <a:pt x="795766" y="1273226"/>
                </a:lnTo>
                <a:lnTo>
                  <a:pt x="954919" y="1273226"/>
                </a:lnTo>
                <a:lnTo>
                  <a:pt x="954919" y="1432379"/>
                </a:lnTo>
                <a:close/>
                <a:moveTo>
                  <a:pt x="1830262" y="358095"/>
                </a:moveTo>
                <a:lnTo>
                  <a:pt x="1830262" y="119365"/>
                </a:lnTo>
                <a:cubicBezTo>
                  <a:pt x="1830262" y="51725"/>
                  <a:pt x="1778537" y="0"/>
                  <a:pt x="1710897" y="0"/>
                </a:cubicBezTo>
                <a:cubicBezTo>
                  <a:pt x="1643257" y="0"/>
                  <a:pt x="1591532" y="51725"/>
                  <a:pt x="1591532" y="119365"/>
                </a:cubicBezTo>
                <a:lnTo>
                  <a:pt x="1591532" y="318306"/>
                </a:lnTo>
                <a:lnTo>
                  <a:pt x="795766" y="318306"/>
                </a:lnTo>
                <a:lnTo>
                  <a:pt x="795766" y="119365"/>
                </a:lnTo>
                <a:cubicBezTo>
                  <a:pt x="795766" y="51725"/>
                  <a:pt x="744041" y="0"/>
                  <a:pt x="676401" y="0"/>
                </a:cubicBezTo>
                <a:cubicBezTo>
                  <a:pt x="608761" y="0"/>
                  <a:pt x="557036" y="51725"/>
                  <a:pt x="557036" y="119365"/>
                </a:cubicBezTo>
                <a:lnTo>
                  <a:pt x="557036" y="358095"/>
                </a:lnTo>
                <a:lnTo>
                  <a:pt x="91513" y="823618"/>
                </a:lnTo>
                <a:cubicBezTo>
                  <a:pt x="31831" y="883300"/>
                  <a:pt x="0" y="962877"/>
                  <a:pt x="0" y="1050411"/>
                </a:cubicBezTo>
                <a:lnTo>
                  <a:pt x="0" y="1750685"/>
                </a:lnTo>
                <a:lnTo>
                  <a:pt x="2387298" y="1750685"/>
                </a:lnTo>
                <a:lnTo>
                  <a:pt x="2387298" y="1046432"/>
                </a:lnTo>
                <a:cubicBezTo>
                  <a:pt x="2387298" y="962877"/>
                  <a:pt x="2355467" y="879321"/>
                  <a:pt x="2295785" y="819639"/>
                </a:cubicBezTo>
                <a:lnTo>
                  <a:pt x="1830262" y="358095"/>
                </a:lnTo>
                <a:close/>
              </a:path>
            </a:pathLst>
          </a:custGeom>
          <a:solidFill>
            <a:srgbClr val="000000"/>
          </a:solidFill>
          <a:ln w="39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35" name="Picture 34" descr="A close up of a clock&#10;&#10;Description automatically generated">
            <a:extLst>
              <a:ext uri="{FF2B5EF4-FFF2-40B4-BE49-F238E27FC236}">
                <a16:creationId xmlns:a16="http://schemas.microsoft.com/office/drawing/2014/main" id="{A075BEC6-DC12-4C25-A057-A8AD319C744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9630" y="519244"/>
            <a:ext cx="1454774" cy="1454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5515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Click="0" advTm="50">
        <p159:morph option="byObject"/>
      </p:transition>
    </mc:Choice>
    <mc:Fallback xmlns="">
      <p:transition spd="slow" advClick="0" advTm="50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DF1B4AC5-BA9F-4977-9E67-5716B53A96F2}"/>
              </a:ext>
            </a:extLst>
          </p:cNvPr>
          <p:cNvGrpSpPr/>
          <p:nvPr/>
        </p:nvGrpSpPr>
        <p:grpSpPr>
          <a:xfrm>
            <a:off x="-7653058" y="407326"/>
            <a:ext cx="7498080" cy="5867400"/>
            <a:chOff x="-7653058" y="407326"/>
            <a:chExt cx="7498080" cy="5867400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9E5629EE-1934-4583-9FE6-6B2297C26849}"/>
                </a:ext>
              </a:extLst>
            </p:cNvPr>
            <p:cNvGrpSpPr/>
            <p:nvPr/>
          </p:nvGrpSpPr>
          <p:grpSpPr>
            <a:xfrm>
              <a:off x="-7653058" y="407326"/>
              <a:ext cx="7498080" cy="5867400"/>
              <a:chOff x="-7653058" y="407326"/>
              <a:chExt cx="7498080" cy="5867400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9B2115D-5A4B-4130-B845-6CCE7F0C74C4}"/>
                  </a:ext>
                </a:extLst>
              </p:cNvPr>
              <p:cNvSpPr/>
              <p:nvPr/>
            </p:nvSpPr>
            <p:spPr>
              <a:xfrm>
                <a:off x="-7653058" y="407326"/>
                <a:ext cx="7498080" cy="5867400"/>
              </a:xfrm>
              <a:prstGeom prst="rect">
                <a:avLst/>
              </a:prstGeom>
              <a:solidFill>
                <a:schemeClr val="bg1"/>
              </a:solidFill>
              <a:ln w="762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1" name="Graphic 20">
                <a:extLst>
                  <a:ext uri="{FF2B5EF4-FFF2-40B4-BE49-F238E27FC236}">
                    <a16:creationId xmlns:a16="http://schemas.microsoft.com/office/drawing/2014/main" id="{CD9CDCAE-4244-4C81-B0E2-9992F1A36E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-5090537" y="1901228"/>
                <a:ext cx="1613535" cy="2904363"/>
              </a:xfrm>
              <a:prstGeom prst="rect">
                <a:avLst/>
              </a:prstGeom>
            </p:spPr>
          </p:pic>
          <p:pic>
            <p:nvPicPr>
              <p:cNvPr id="22" name="Graphic 21">
                <a:extLst>
                  <a:ext uri="{FF2B5EF4-FFF2-40B4-BE49-F238E27FC236}">
                    <a16:creationId xmlns:a16="http://schemas.microsoft.com/office/drawing/2014/main" id="{F7ED40C3-BFCE-4391-9E96-361D733982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-6167733" y="3328680"/>
                <a:ext cx="3273171" cy="2320417"/>
              </a:xfrm>
              <a:prstGeom prst="rect">
                <a:avLst/>
              </a:prstGeom>
            </p:spPr>
          </p:pic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DAE29E50-5901-4FC9-98D2-41B72ADFA0D4}"/>
                  </a:ext>
                </a:extLst>
              </p:cNvPr>
              <p:cNvSpPr/>
              <p:nvPr/>
            </p:nvSpPr>
            <p:spPr>
              <a:xfrm>
                <a:off x="-3831011" y="2299763"/>
                <a:ext cx="339436" cy="63038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D7B62BBD-2F70-4AEA-BBDC-2E233C7A87CB}"/>
                  </a:ext>
                </a:extLst>
              </p:cNvPr>
              <p:cNvSpPr/>
              <p:nvPr/>
            </p:nvSpPr>
            <p:spPr>
              <a:xfrm>
                <a:off x="-5077925" y="2315032"/>
                <a:ext cx="339436" cy="63038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7DAB764A-F188-4CB0-B71A-46086A1918BD}"/>
                  </a:ext>
                </a:extLst>
              </p:cNvPr>
              <p:cNvSpPr/>
              <p:nvPr/>
            </p:nvSpPr>
            <p:spPr>
              <a:xfrm rot="3544034">
                <a:off x="-4109779" y="2890959"/>
                <a:ext cx="108207" cy="20646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Arc 25">
                <a:extLst>
                  <a:ext uri="{FF2B5EF4-FFF2-40B4-BE49-F238E27FC236}">
                    <a16:creationId xmlns:a16="http://schemas.microsoft.com/office/drawing/2014/main" id="{31D488EE-819A-4182-9632-AC70359F2375}"/>
                  </a:ext>
                </a:extLst>
              </p:cNvPr>
              <p:cNvSpPr/>
              <p:nvPr/>
            </p:nvSpPr>
            <p:spPr>
              <a:xfrm rot="3945370">
                <a:off x="-4093894" y="2545662"/>
                <a:ext cx="218684" cy="584464"/>
              </a:xfrm>
              <a:prstGeom prst="arc">
                <a:avLst>
                  <a:gd name="adj1" fmla="val 16643437"/>
                  <a:gd name="adj2" fmla="val 3655578"/>
                </a:avLst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6B5465EA-8501-43A1-9D22-B9E07F9B4794}"/>
                  </a:ext>
                </a:extLst>
              </p:cNvPr>
              <p:cNvGrpSpPr/>
              <p:nvPr/>
            </p:nvGrpSpPr>
            <p:grpSpPr>
              <a:xfrm rot="587514">
                <a:off x="-5461495" y="3593847"/>
                <a:ext cx="515727" cy="515727"/>
                <a:chOff x="1507830" y="2703051"/>
                <a:chExt cx="624030" cy="624030"/>
              </a:xfrm>
            </p:grpSpPr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id="{74BDA23D-7972-4635-A166-39D554B24164}"/>
                    </a:ext>
                  </a:extLst>
                </p:cNvPr>
                <p:cNvSpPr/>
                <p:nvPr/>
              </p:nvSpPr>
              <p:spPr>
                <a:xfrm>
                  <a:off x="1507830" y="2703051"/>
                  <a:ext cx="624030" cy="624030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3" name="Plus Sign 32">
                  <a:extLst>
                    <a:ext uri="{FF2B5EF4-FFF2-40B4-BE49-F238E27FC236}">
                      <a16:creationId xmlns:a16="http://schemas.microsoft.com/office/drawing/2014/main" id="{6938268B-2D71-43FB-862E-42278764386C}"/>
                    </a:ext>
                  </a:extLst>
                </p:cNvPr>
                <p:cNvSpPr/>
                <p:nvPr/>
              </p:nvSpPr>
              <p:spPr>
                <a:xfrm>
                  <a:off x="1547437" y="2757759"/>
                  <a:ext cx="548640" cy="548640"/>
                </a:xfrm>
                <a:prstGeom prst="mathPlus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90CEF352-28DE-47A1-A830-647EE0371175}"/>
                </a:ext>
              </a:extLst>
            </p:cNvPr>
            <p:cNvSpPr/>
            <p:nvPr/>
          </p:nvSpPr>
          <p:spPr>
            <a:xfrm>
              <a:off x="-4290948" y="2964867"/>
              <a:ext cx="67187" cy="128196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7" name="Graphic 26" descr="Lightning bolt">
            <a:extLst>
              <a:ext uri="{FF2B5EF4-FFF2-40B4-BE49-F238E27FC236}">
                <a16:creationId xmlns:a16="http://schemas.microsoft.com/office/drawing/2014/main" id="{E183AD74-0932-4626-95BE-5BBE643F908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9120886">
            <a:off x="-6218854" y="1180893"/>
            <a:ext cx="1472650" cy="1472650"/>
          </a:xfrm>
          <a:prstGeom prst="rect">
            <a:avLst/>
          </a:prstGeom>
        </p:spPr>
      </p:pic>
      <p:pic>
        <p:nvPicPr>
          <p:cNvPr id="28" name="Graphic 27" descr="Lightning bolt">
            <a:extLst>
              <a:ext uri="{FF2B5EF4-FFF2-40B4-BE49-F238E27FC236}">
                <a16:creationId xmlns:a16="http://schemas.microsoft.com/office/drawing/2014/main" id="{7E371614-E0C5-4730-9F59-29857739744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20410352">
            <a:off x="-5104012" y="493566"/>
            <a:ext cx="1472650" cy="1472650"/>
          </a:xfrm>
          <a:prstGeom prst="rect">
            <a:avLst/>
          </a:prstGeom>
        </p:spPr>
      </p:pic>
      <p:pic>
        <p:nvPicPr>
          <p:cNvPr id="29" name="Graphic 28" descr="Lightning bolt">
            <a:extLst>
              <a:ext uri="{FF2B5EF4-FFF2-40B4-BE49-F238E27FC236}">
                <a16:creationId xmlns:a16="http://schemas.microsoft.com/office/drawing/2014/main" id="{9AAC2387-77BD-4869-99AD-807C896682D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757825">
            <a:off x="-4048325" y="747610"/>
            <a:ext cx="1472650" cy="1472650"/>
          </a:xfrm>
          <a:prstGeom prst="rect">
            <a:avLst/>
          </a:prstGeom>
        </p:spPr>
      </p:pic>
      <p:pic>
        <p:nvPicPr>
          <p:cNvPr id="30" name="Graphic 29" descr="Lightning bolt">
            <a:extLst>
              <a:ext uri="{FF2B5EF4-FFF2-40B4-BE49-F238E27FC236}">
                <a16:creationId xmlns:a16="http://schemas.microsoft.com/office/drawing/2014/main" id="{F6100D8D-1CCE-49E2-804F-56FA93D061D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3064637">
            <a:off x="-3549016" y="1435993"/>
            <a:ext cx="1472650" cy="14726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2F4DCE-3821-4CD2-9A16-8FB1B79D4BB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sp>
        <p:nvSpPr>
          <p:cNvPr id="2" name="Arc 1">
            <a:extLst>
              <a:ext uri="{FF2B5EF4-FFF2-40B4-BE49-F238E27FC236}">
                <a16:creationId xmlns:a16="http://schemas.microsoft.com/office/drawing/2014/main" id="{16E0F010-D42B-41EF-9A76-EA4A5F1FFE2A}"/>
              </a:ext>
            </a:extLst>
          </p:cNvPr>
          <p:cNvSpPr/>
          <p:nvPr/>
        </p:nvSpPr>
        <p:spPr>
          <a:xfrm rot="18887904">
            <a:off x="89221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E39A87B4-C3D0-489D-9F1D-A532A3EB6B6A}"/>
              </a:ext>
            </a:extLst>
          </p:cNvPr>
          <p:cNvSpPr/>
          <p:nvPr/>
        </p:nvSpPr>
        <p:spPr>
          <a:xfrm rot="6946001">
            <a:off x="9376894" y="2928027"/>
            <a:ext cx="3038920" cy="1001945"/>
          </a:xfrm>
          <a:custGeom>
            <a:avLst/>
            <a:gdLst>
              <a:gd name="connsiteX0" fmla="*/ 2959797 w 3038920"/>
              <a:gd name="connsiteY0" fmla="*/ 393904 h 1001945"/>
              <a:gd name="connsiteX1" fmla="*/ 1519460 w 3038920"/>
              <a:gd name="connsiteY1" fmla="*/ 0 h 1001945"/>
              <a:gd name="connsiteX2" fmla="*/ 79124 w 3038920"/>
              <a:gd name="connsiteY2" fmla="*/ 393904 h 1001945"/>
              <a:gd name="connsiteX3" fmla="*/ 27399 w 3038920"/>
              <a:gd name="connsiteY3" fmla="*/ 620697 h 1001945"/>
              <a:gd name="connsiteX4" fmla="*/ 238277 w 3038920"/>
              <a:gd name="connsiteY4" fmla="*/ 931046 h 1001945"/>
              <a:gd name="connsiteX5" fmla="*/ 480985 w 3038920"/>
              <a:gd name="connsiteY5" fmla="*/ 954919 h 1001945"/>
              <a:gd name="connsiteX6" fmla="*/ 675948 w 3038920"/>
              <a:gd name="connsiteY6" fmla="*/ 759957 h 1001945"/>
              <a:gd name="connsiteX7" fmla="*/ 723694 w 3038920"/>
              <a:gd name="connsiteY7" fmla="*/ 648549 h 1001945"/>
              <a:gd name="connsiteX8" fmla="*/ 723694 w 3038920"/>
              <a:gd name="connsiteY8" fmla="*/ 445629 h 1001945"/>
              <a:gd name="connsiteX9" fmla="*/ 1519460 w 3038920"/>
              <a:gd name="connsiteY9" fmla="*/ 314328 h 1001945"/>
              <a:gd name="connsiteX10" fmla="*/ 2315226 w 3038920"/>
              <a:gd name="connsiteY10" fmla="*/ 445629 h 1001945"/>
              <a:gd name="connsiteX11" fmla="*/ 2315226 w 3038920"/>
              <a:gd name="connsiteY11" fmla="*/ 648549 h 1001945"/>
              <a:gd name="connsiteX12" fmla="*/ 2362972 w 3038920"/>
              <a:gd name="connsiteY12" fmla="*/ 759957 h 1001945"/>
              <a:gd name="connsiteX13" fmla="*/ 2557935 w 3038920"/>
              <a:gd name="connsiteY13" fmla="*/ 954919 h 1001945"/>
              <a:gd name="connsiteX14" fmla="*/ 2800643 w 3038920"/>
              <a:gd name="connsiteY14" fmla="*/ 931046 h 1001945"/>
              <a:gd name="connsiteX15" fmla="*/ 3011522 w 3038920"/>
              <a:gd name="connsiteY15" fmla="*/ 620697 h 1001945"/>
              <a:gd name="connsiteX16" fmla="*/ 2959797 w 3038920"/>
              <a:gd name="connsiteY16" fmla="*/ 393904 h 1001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38920" h="1001945">
                <a:moveTo>
                  <a:pt x="2959797" y="393904"/>
                </a:moveTo>
                <a:cubicBezTo>
                  <a:pt x="2538041" y="143238"/>
                  <a:pt x="2044666" y="0"/>
                  <a:pt x="1519460" y="0"/>
                </a:cubicBezTo>
                <a:cubicBezTo>
                  <a:pt x="994254" y="0"/>
                  <a:pt x="500880" y="143238"/>
                  <a:pt x="79124" y="393904"/>
                </a:cubicBezTo>
                <a:cubicBezTo>
                  <a:pt x="-453" y="441650"/>
                  <a:pt x="-24326" y="545100"/>
                  <a:pt x="27399" y="620697"/>
                </a:cubicBezTo>
                <a:lnTo>
                  <a:pt x="238277" y="931046"/>
                </a:lnTo>
                <a:cubicBezTo>
                  <a:pt x="293980" y="1014602"/>
                  <a:pt x="413345" y="1026538"/>
                  <a:pt x="480985" y="954919"/>
                </a:cubicBezTo>
                <a:lnTo>
                  <a:pt x="675948" y="759957"/>
                </a:lnTo>
                <a:cubicBezTo>
                  <a:pt x="707779" y="728126"/>
                  <a:pt x="723694" y="688338"/>
                  <a:pt x="723694" y="648549"/>
                </a:cubicBezTo>
                <a:lnTo>
                  <a:pt x="723694" y="445629"/>
                </a:lnTo>
                <a:cubicBezTo>
                  <a:pt x="974360" y="362074"/>
                  <a:pt x="1240942" y="314328"/>
                  <a:pt x="1519460" y="314328"/>
                </a:cubicBezTo>
                <a:cubicBezTo>
                  <a:pt x="1797978" y="314328"/>
                  <a:pt x="2064560" y="362074"/>
                  <a:pt x="2315226" y="445629"/>
                </a:cubicBezTo>
                <a:lnTo>
                  <a:pt x="2315226" y="648549"/>
                </a:lnTo>
                <a:cubicBezTo>
                  <a:pt x="2315226" y="692317"/>
                  <a:pt x="2331142" y="732105"/>
                  <a:pt x="2362972" y="759957"/>
                </a:cubicBezTo>
                <a:lnTo>
                  <a:pt x="2557935" y="954919"/>
                </a:lnTo>
                <a:cubicBezTo>
                  <a:pt x="2629554" y="1026538"/>
                  <a:pt x="2744940" y="1014602"/>
                  <a:pt x="2800643" y="931046"/>
                </a:cubicBezTo>
                <a:lnTo>
                  <a:pt x="3011522" y="620697"/>
                </a:lnTo>
                <a:cubicBezTo>
                  <a:pt x="3063246" y="545100"/>
                  <a:pt x="3039373" y="441650"/>
                  <a:pt x="2959797" y="393904"/>
                </a:cubicBezTo>
                <a:close/>
              </a:path>
            </a:pathLst>
          </a:custGeom>
          <a:solidFill>
            <a:srgbClr val="000000"/>
          </a:solidFill>
          <a:ln w="39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1873761-C0EA-44E0-82CA-7D4BEFE18AA1}"/>
              </a:ext>
            </a:extLst>
          </p:cNvPr>
          <p:cNvSpPr/>
          <p:nvPr/>
        </p:nvSpPr>
        <p:spPr>
          <a:xfrm>
            <a:off x="2593244" y="3445543"/>
            <a:ext cx="2387298" cy="1750685"/>
          </a:xfrm>
          <a:custGeom>
            <a:avLst/>
            <a:gdLst>
              <a:gd name="connsiteX0" fmla="*/ 1591532 w 2387298"/>
              <a:gd name="connsiteY0" fmla="*/ 795766 h 1750685"/>
              <a:gd name="connsiteX1" fmla="*/ 1432379 w 2387298"/>
              <a:gd name="connsiteY1" fmla="*/ 795766 h 1750685"/>
              <a:gd name="connsiteX2" fmla="*/ 1432379 w 2387298"/>
              <a:gd name="connsiteY2" fmla="*/ 636613 h 1750685"/>
              <a:gd name="connsiteX3" fmla="*/ 1591532 w 2387298"/>
              <a:gd name="connsiteY3" fmla="*/ 636613 h 1750685"/>
              <a:gd name="connsiteX4" fmla="*/ 1591532 w 2387298"/>
              <a:gd name="connsiteY4" fmla="*/ 795766 h 1750685"/>
              <a:gd name="connsiteX5" fmla="*/ 1591532 w 2387298"/>
              <a:gd name="connsiteY5" fmla="*/ 1114073 h 1750685"/>
              <a:gd name="connsiteX6" fmla="*/ 1432379 w 2387298"/>
              <a:gd name="connsiteY6" fmla="*/ 1114073 h 1750685"/>
              <a:gd name="connsiteX7" fmla="*/ 1432379 w 2387298"/>
              <a:gd name="connsiteY7" fmla="*/ 954919 h 1750685"/>
              <a:gd name="connsiteX8" fmla="*/ 1591532 w 2387298"/>
              <a:gd name="connsiteY8" fmla="*/ 954919 h 1750685"/>
              <a:gd name="connsiteX9" fmla="*/ 1591532 w 2387298"/>
              <a:gd name="connsiteY9" fmla="*/ 1114073 h 1750685"/>
              <a:gd name="connsiteX10" fmla="*/ 1591532 w 2387298"/>
              <a:gd name="connsiteY10" fmla="*/ 1432379 h 1750685"/>
              <a:gd name="connsiteX11" fmla="*/ 1432379 w 2387298"/>
              <a:gd name="connsiteY11" fmla="*/ 1432379 h 1750685"/>
              <a:gd name="connsiteX12" fmla="*/ 1432379 w 2387298"/>
              <a:gd name="connsiteY12" fmla="*/ 1273226 h 1750685"/>
              <a:gd name="connsiteX13" fmla="*/ 1591532 w 2387298"/>
              <a:gd name="connsiteY13" fmla="*/ 1273226 h 1750685"/>
              <a:gd name="connsiteX14" fmla="*/ 1591532 w 2387298"/>
              <a:gd name="connsiteY14" fmla="*/ 1432379 h 1750685"/>
              <a:gd name="connsiteX15" fmla="*/ 1273226 w 2387298"/>
              <a:gd name="connsiteY15" fmla="*/ 795766 h 1750685"/>
              <a:gd name="connsiteX16" fmla="*/ 1114073 w 2387298"/>
              <a:gd name="connsiteY16" fmla="*/ 795766 h 1750685"/>
              <a:gd name="connsiteX17" fmla="*/ 1114073 w 2387298"/>
              <a:gd name="connsiteY17" fmla="*/ 636613 h 1750685"/>
              <a:gd name="connsiteX18" fmla="*/ 1273226 w 2387298"/>
              <a:gd name="connsiteY18" fmla="*/ 636613 h 1750685"/>
              <a:gd name="connsiteX19" fmla="*/ 1273226 w 2387298"/>
              <a:gd name="connsiteY19" fmla="*/ 795766 h 1750685"/>
              <a:gd name="connsiteX20" fmla="*/ 1273226 w 2387298"/>
              <a:gd name="connsiteY20" fmla="*/ 1114073 h 1750685"/>
              <a:gd name="connsiteX21" fmla="*/ 1114073 w 2387298"/>
              <a:gd name="connsiteY21" fmla="*/ 1114073 h 1750685"/>
              <a:gd name="connsiteX22" fmla="*/ 1114073 w 2387298"/>
              <a:gd name="connsiteY22" fmla="*/ 954919 h 1750685"/>
              <a:gd name="connsiteX23" fmla="*/ 1273226 w 2387298"/>
              <a:gd name="connsiteY23" fmla="*/ 954919 h 1750685"/>
              <a:gd name="connsiteX24" fmla="*/ 1273226 w 2387298"/>
              <a:gd name="connsiteY24" fmla="*/ 1114073 h 1750685"/>
              <a:gd name="connsiteX25" fmla="*/ 1273226 w 2387298"/>
              <a:gd name="connsiteY25" fmla="*/ 1432379 h 1750685"/>
              <a:gd name="connsiteX26" fmla="*/ 1114073 w 2387298"/>
              <a:gd name="connsiteY26" fmla="*/ 1432379 h 1750685"/>
              <a:gd name="connsiteX27" fmla="*/ 1114073 w 2387298"/>
              <a:gd name="connsiteY27" fmla="*/ 1273226 h 1750685"/>
              <a:gd name="connsiteX28" fmla="*/ 1273226 w 2387298"/>
              <a:gd name="connsiteY28" fmla="*/ 1273226 h 1750685"/>
              <a:gd name="connsiteX29" fmla="*/ 1273226 w 2387298"/>
              <a:gd name="connsiteY29" fmla="*/ 1432379 h 1750685"/>
              <a:gd name="connsiteX30" fmla="*/ 954919 w 2387298"/>
              <a:gd name="connsiteY30" fmla="*/ 795766 h 1750685"/>
              <a:gd name="connsiteX31" fmla="*/ 795766 w 2387298"/>
              <a:gd name="connsiteY31" fmla="*/ 795766 h 1750685"/>
              <a:gd name="connsiteX32" fmla="*/ 795766 w 2387298"/>
              <a:gd name="connsiteY32" fmla="*/ 636613 h 1750685"/>
              <a:gd name="connsiteX33" fmla="*/ 954919 w 2387298"/>
              <a:gd name="connsiteY33" fmla="*/ 636613 h 1750685"/>
              <a:gd name="connsiteX34" fmla="*/ 954919 w 2387298"/>
              <a:gd name="connsiteY34" fmla="*/ 795766 h 1750685"/>
              <a:gd name="connsiteX35" fmla="*/ 954919 w 2387298"/>
              <a:gd name="connsiteY35" fmla="*/ 1114073 h 1750685"/>
              <a:gd name="connsiteX36" fmla="*/ 795766 w 2387298"/>
              <a:gd name="connsiteY36" fmla="*/ 1114073 h 1750685"/>
              <a:gd name="connsiteX37" fmla="*/ 795766 w 2387298"/>
              <a:gd name="connsiteY37" fmla="*/ 954919 h 1750685"/>
              <a:gd name="connsiteX38" fmla="*/ 954919 w 2387298"/>
              <a:gd name="connsiteY38" fmla="*/ 954919 h 1750685"/>
              <a:gd name="connsiteX39" fmla="*/ 954919 w 2387298"/>
              <a:gd name="connsiteY39" fmla="*/ 1114073 h 1750685"/>
              <a:gd name="connsiteX40" fmla="*/ 954919 w 2387298"/>
              <a:gd name="connsiteY40" fmla="*/ 1432379 h 1750685"/>
              <a:gd name="connsiteX41" fmla="*/ 795766 w 2387298"/>
              <a:gd name="connsiteY41" fmla="*/ 1432379 h 1750685"/>
              <a:gd name="connsiteX42" fmla="*/ 795766 w 2387298"/>
              <a:gd name="connsiteY42" fmla="*/ 1273226 h 1750685"/>
              <a:gd name="connsiteX43" fmla="*/ 954919 w 2387298"/>
              <a:gd name="connsiteY43" fmla="*/ 1273226 h 1750685"/>
              <a:gd name="connsiteX44" fmla="*/ 954919 w 2387298"/>
              <a:gd name="connsiteY44" fmla="*/ 1432379 h 1750685"/>
              <a:gd name="connsiteX45" fmla="*/ 1830262 w 2387298"/>
              <a:gd name="connsiteY45" fmla="*/ 358095 h 1750685"/>
              <a:gd name="connsiteX46" fmla="*/ 1830262 w 2387298"/>
              <a:gd name="connsiteY46" fmla="*/ 119365 h 1750685"/>
              <a:gd name="connsiteX47" fmla="*/ 1710897 w 2387298"/>
              <a:gd name="connsiteY47" fmla="*/ 0 h 1750685"/>
              <a:gd name="connsiteX48" fmla="*/ 1591532 w 2387298"/>
              <a:gd name="connsiteY48" fmla="*/ 119365 h 1750685"/>
              <a:gd name="connsiteX49" fmla="*/ 1591532 w 2387298"/>
              <a:gd name="connsiteY49" fmla="*/ 318306 h 1750685"/>
              <a:gd name="connsiteX50" fmla="*/ 795766 w 2387298"/>
              <a:gd name="connsiteY50" fmla="*/ 318306 h 1750685"/>
              <a:gd name="connsiteX51" fmla="*/ 795766 w 2387298"/>
              <a:gd name="connsiteY51" fmla="*/ 119365 h 1750685"/>
              <a:gd name="connsiteX52" fmla="*/ 676401 w 2387298"/>
              <a:gd name="connsiteY52" fmla="*/ 0 h 1750685"/>
              <a:gd name="connsiteX53" fmla="*/ 557036 w 2387298"/>
              <a:gd name="connsiteY53" fmla="*/ 119365 h 1750685"/>
              <a:gd name="connsiteX54" fmla="*/ 557036 w 2387298"/>
              <a:gd name="connsiteY54" fmla="*/ 358095 h 1750685"/>
              <a:gd name="connsiteX55" fmla="*/ 91513 w 2387298"/>
              <a:gd name="connsiteY55" fmla="*/ 823618 h 1750685"/>
              <a:gd name="connsiteX56" fmla="*/ 0 w 2387298"/>
              <a:gd name="connsiteY56" fmla="*/ 1050411 h 1750685"/>
              <a:gd name="connsiteX57" fmla="*/ 0 w 2387298"/>
              <a:gd name="connsiteY57" fmla="*/ 1750685 h 1750685"/>
              <a:gd name="connsiteX58" fmla="*/ 2387298 w 2387298"/>
              <a:gd name="connsiteY58" fmla="*/ 1750685 h 1750685"/>
              <a:gd name="connsiteX59" fmla="*/ 2387298 w 2387298"/>
              <a:gd name="connsiteY59" fmla="*/ 1046432 h 1750685"/>
              <a:gd name="connsiteX60" fmla="*/ 2295785 w 2387298"/>
              <a:gd name="connsiteY60" fmla="*/ 819639 h 1750685"/>
              <a:gd name="connsiteX61" fmla="*/ 1830262 w 2387298"/>
              <a:gd name="connsiteY61" fmla="*/ 358095 h 1750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2387298" h="1750685">
                <a:moveTo>
                  <a:pt x="1591532" y="795766"/>
                </a:moveTo>
                <a:lnTo>
                  <a:pt x="1432379" y="795766"/>
                </a:lnTo>
                <a:lnTo>
                  <a:pt x="1432379" y="636613"/>
                </a:lnTo>
                <a:lnTo>
                  <a:pt x="1591532" y="636613"/>
                </a:lnTo>
                <a:lnTo>
                  <a:pt x="1591532" y="795766"/>
                </a:lnTo>
                <a:close/>
                <a:moveTo>
                  <a:pt x="1591532" y="1114073"/>
                </a:moveTo>
                <a:lnTo>
                  <a:pt x="1432379" y="1114073"/>
                </a:lnTo>
                <a:lnTo>
                  <a:pt x="1432379" y="954919"/>
                </a:lnTo>
                <a:lnTo>
                  <a:pt x="1591532" y="954919"/>
                </a:lnTo>
                <a:lnTo>
                  <a:pt x="1591532" y="1114073"/>
                </a:lnTo>
                <a:close/>
                <a:moveTo>
                  <a:pt x="1591532" y="1432379"/>
                </a:moveTo>
                <a:lnTo>
                  <a:pt x="1432379" y="1432379"/>
                </a:lnTo>
                <a:lnTo>
                  <a:pt x="1432379" y="1273226"/>
                </a:lnTo>
                <a:lnTo>
                  <a:pt x="1591532" y="1273226"/>
                </a:lnTo>
                <a:lnTo>
                  <a:pt x="1591532" y="1432379"/>
                </a:lnTo>
                <a:close/>
                <a:moveTo>
                  <a:pt x="1273226" y="795766"/>
                </a:moveTo>
                <a:lnTo>
                  <a:pt x="1114073" y="795766"/>
                </a:lnTo>
                <a:lnTo>
                  <a:pt x="1114073" y="636613"/>
                </a:lnTo>
                <a:lnTo>
                  <a:pt x="1273226" y="636613"/>
                </a:lnTo>
                <a:lnTo>
                  <a:pt x="1273226" y="795766"/>
                </a:lnTo>
                <a:close/>
                <a:moveTo>
                  <a:pt x="1273226" y="1114073"/>
                </a:moveTo>
                <a:lnTo>
                  <a:pt x="1114073" y="1114073"/>
                </a:lnTo>
                <a:lnTo>
                  <a:pt x="1114073" y="954919"/>
                </a:lnTo>
                <a:lnTo>
                  <a:pt x="1273226" y="954919"/>
                </a:lnTo>
                <a:lnTo>
                  <a:pt x="1273226" y="1114073"/>
                </a:lnTo>
                <a:close/>
                <a:moveTo>
                  <a:pt x="1273226" y="1432379"/>
                </a:moveTo>
                <a:lnTo>
                  <a:pt x="1114073" y="1432379"/>
                </a:lnTo>
                <a:lnTo>
                  <a:pt x="1114073" y="1273226"/>
                </a:lnTo>
                <a:lnTo>
                  <a:pt x="1273226" y="1273226"/>
                </a:lnTo>
                <a:lnTo>
                  <a:pt x="1273226" y="1432379"/>
                </a:lnTo>
                <a:close/>
                <a:moveTo>
                  <a:pt x="954919" y="795766"/>
                </a:moveTo>
                <a:lnTo>
                  <a:pt x="795766" y="795766"/>
                </a:lnTo>
                <a:lnTo>
                  <a:pt x="795766" y="636613"/>
                </a:lnTo>
                <a:lnTo>
                  <a:pt x="954919" y="636613"/>
                </a:lnTo>
                <a:lnTo>
                  <a:pt x="954919" y="795766"/>
                </a:lnTo>
                <a:close/>
                <a:moveTo>
                  <a:pt x="954919" y="1114073"/>
                </a:moveTo>
                <a:lnTo>
                  <a:pt x="795766" y="1114073"/>
                </a:lnTo>
                <a:lnTo>
                  <a:pt x="795766" y="954919"/>
                </a:lnTo>
                <a:lnTo>
                  <a:pt x="954919" y="954919"/>
                </a:lnTo>
                <a:lnTo>
                  <a:pt x="954919" y="1114073"/>
                </a:lnTo>
                <a:close/>
                <a:moveTo>
                  <a:pt x="954919" y="1432379"/>
                </a:moveTo>
                <a:lnTo>
                  <a:pt x="795766" y="1432379"/>
                </a:lnTo>
                <a:lnTo>
                  <a:pt x="795766" y="1273226"/>
                </a:lnTo>
                <a:lnTo>
                  <a:pt x="954919" y="1273226"/>
                </a:lnTo>
                <a:lnTo>
                  <a:pt x="954919" y="1432379"/>
                </a:lnTo>
                <a:close/>
                <a:moveTo>
                  <a:pt x="1830262" y="358095"/>
                </a:moveTo>
                <a:lnTo>
                  <a:pt x="1830262" y="119365"/>
                </a:lnTo>
                <a:cubicBezTo>
                  <a:pt x="1830262" y="51725"/>
                  <a:pt x="1778537" y="0"/>
                  <a:pt x="1710897" y="0"/>
                </a:cubicBezTo>
                <a:cubicBezTo>
                  <a:pt x="1643257" y="0"/>
                  <a:pt x="1591532" y="51725"/>
                  <a:pt x="1591532" y="119365"/>
                </a:cubicBezTo>
                <a:lnTo>
                  <a:pt x="1591532" y="318306"/>
                </a:lnTo>
                <a:lnTo>
                  <a:pt x="795766" y="318306"/>
                </a:lnTo>
                <a:lnTo>
                  <a:pt x="795766" y="119365"/>
                </a:lnTo>
                <a:cubicBezTo>
                  <a:pt x="795766" y="51725"/>
                  <a:pt x="744041" y="0"/>
                  <a:pt x="676401" y="0"/>
                </a:cubicBezTo>
                <a:cubicBezTo>
                  <a:pt x="608761" y="0"/>
                  <a:pt x="557036" y="51725"/>
                  <a:pt x="557036" y="119365"/>
                </a:cubicBezTo>
                <a:lnTo>
                  <a:pt x="557036" y="358095"/>
                </a:lnTo>
                <a:lnTo>
                  <a:pt x="91513" y="823618"/>
                </a:lnTo>
                <a:cubicBezTo>
                  <a:pt x="31831" y="883300"/>
                  <a:pt x="0" y="962877"/>
                  <a:pt x="0" y="1050411"/>
                </a:cubicBezTo>
                <a:lnTo>
                  <a:pt x="0" y="1750685"/>
                </a:lnTo>
                <a:lnTo>
                  <a:pt x="2387298" y="1750685"/>
                </a:lnTo>
                <a:lnTo>
                  <a:pt x="2387298" y="1046432"/>
                </a:lnTo>
                <a:cubicBezTo>
                  <a:pt x="2387298" y="962877"/>
                  <a:pt x="2355467" y="879321"/>
                  <a:pt x="2295785" y="819639"/>
                </a:cubicBezTo>
                <a:lnTo>
                  <a:pt x="1830262" y="358095"/>
                </a:lnTo>
                <a:close/>
              </a:path>
            </a:pathLst>
          </a:custGeom>
          <a:solidFill>
            <a:srgbClr val="000000"/>
          </a:solidFill>
          <a:ln w="39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35" name="Picture 34" descr="A close up of a clock&#10;&#10;Description automatically generated">
            <a:extLst>
              <a:ext uri="{FF2B5EF4-FFF2-40B4-BE49-F238E27FC236}">
                <a16:creationId xmlns:a16="http://schemas.microsoft.com/office/drawing/2014/main" id="{7525B73D-5944-4657-8C9E-DA2441AFD69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9630" y="519244"/>
            <a:ext cx="1454774" cy="1454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3455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35BD31-9BEB-4951-908E-6DF29B0B51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341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35BD31-9BEB-4951-908E-6DF29B0B5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>
            <a:extLst>
              <a:ext uri="{FF2B5EF4-FFF2-40B4-BE49-F238E27FC236}">
                <a16:creationId xmlns:a16="http://schemas.microsoft.com/office/drawing/2014/main" id="{F02DBC75-D430-48E1-A785-A9B84F4E4F6B}"/>
              </a:ext>
            </a:extLst>
          </p:cNvPr>
          <p:cNvGrpSpPr/>
          <p:nvPr/>
        </p:nvGrpSpPr>
        <p:grpSpPr>
          <a:xfrm>
            <a:off x="576542" y="407326"/>
            <a:ext cx="7498080" cy="5867400"/>
            <a:chOff x="576542" y="407326"/>
            <a:chExt cx="7498080" cy="5867400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D0DEB6D-A1BF-4B7D-B436-7C610A7C06FD}"/>
                </a:ext>
              </a:extLst>
            </p:cNvPr>
            <p:cNvGrpSpPr/>
            <p:nvPr/>
          </p:nvGrpSpPr>
          <p:grpSpPr>
            <a:xfrm>
              <a:off x="576542" y="407326"/>
              <a:ext cx="7498080" cy="5867400"/>
              <a:chOff x="576542" y="407326"/>
              <a:chExt cx="7498080" cy="5867400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9E84FD1B-88F4-4382-A7F9-A9682B91FF33}"/>
                  </a:ext>
                </a:extLst>
              </p:cNvPr>
              <p:cNvSpPr/>
              <p:nvPr/>
            </p:nvSpPr>
            <p:spPr>
              <a:xfrm>
                <a:off x="576542" y="407326"/>
                <a:ext cx="7498080" cy="5867400"/>
              </a:xfrm>
              <a:prstGeom prst="rect">
                <a:avLst/>
              </a:prstGeom>
              <a:solidFill>
                <a:schemeClr val="bg1"/>
              </a:solidFill>
              <a:ln w="762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40" name="Graphic 39">
                <a:extLst>
                  <a:ext uri="{FF2B5EF4-FFF2-40B4-BE49-F238E27FC236}">
                    <a16:creationId xmlns:a16="http://schemas.microsoft.com/office/drawing/2014/main" id="{BF6C493F-279E-4761-B378-26FBBEBD49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139063" y="1901228"/>
                <a:ext cx="1613535" cy="2904363"/>
              </a:xfrm>
              <a:prstGeom prst="rect">
                <a:avLst/>
              </a:prstGeom>
            </p:spPr>
          </p:pic>
          <p:pic>
            <p:nvPicPr>
              <p:cNvPr id="41" name="Graphic 40">
                <a:extLst>
                  <a:ext uri="{FF2B5EF4-FFF2-40B4-BE49-F238E27FC236}">
                    <a16:creationId xmlns:a16="http://schemas.microsoft.com/office/drawing/2014/main" id="{2BA78D9A-32F2-40DE-A441-8F484E0013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2061867" y="3328680"/>
                <a:ext cx="3273171" cy="2320417"/>
              </a:xfrm>
              <a:prstGeom prst="rect">
                <a:avLst/>
              </a:prstGeom>
            </p:spPr>
          </p:pic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10640300-9658-491E-A06C-8FB546E13C29}"/>
                  </a:ext>
                </a:extLst>
              </p:cNvPr>
              <p:cNvSpPr/>
              <p:nvPr/>
            </p:nvSpPr>
            <p:spPr>
              <a:xfrm>
                <a:off x="4398589" y="2299763"/>
                <a:ext cx="339436" cy="63038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D3433CF4-65FC-440F-9386-BB03EECED0A9}"/>
                  </a:ext>
                </a:extLst>
              </p:cNvPr>
              <p:cNvSpPr/>
              <p:nvPr/>
            </p:nvSpPr>
            <p:spPr>
              <a:xfrm>
                <a:off x="3151675" y="2315032"/>
                <a:ext cx="339436" cy="63038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50FE6CAE-3C95-4507-BF38-D4EA7C73F7EE}"/>
                  </a:ext>
                </a:extLst>
              </p:cNvPr>
              <p:cNvSpPr/>
              <p:nvPr/>
            </p:nvSpPr>
            <p:spPr>
              <a:xfrm rot="3544034">
                <a:off x="4119821" y="2890959"/>
                <a:ext cx="108207" cy="20646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Arc 44">
                <a:extLst>
                  <a:ext uri="{FF2B5EF4-FFF2-40B4-BE49-F238E27FC236}">
                    <a16:creationId xmlns:a16="http://schemas.microsoft.com/office/drawing/2014/main" id="{CE7980B3-2388-4649-B41F-4560203A59D3}"/>
                  </a:ext>
                </a:extLst>
              </p:cNvPr>
              <p:cNvSpPr/>
              <p:nvPr/>
            </p:nvSpPr>
            <p:spPr>
              <a:xfrm rot="3945370">
                <a:off x="4135706" y="2545662"/>
                <a:ext cx="218684" cy="584464"/>
              </a:xfrm>
              <a:prstGeom prst="arc">
                <a:avLst>
                  <a:gd name="adj1" fmla="val 16643437"/>
                  <a:gd name="adj2" fmla="val 3655578"/>
                </a:avLst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886BFF12-4631-4A3C-B508-A810D17C2783}"/>
                  </a:ext>
                </a:extLst>
              </p:cNvPr>
              <p:cNvGrpSpPr/>
              <p:nvPr/>
            </p:nvGrpSpPr>
            <p:grpSpPr>
              <a:xfrm rot="587514">
                <a:off x="2768105" y="3593847"/>
                <a:ext cx="515727" cy="515727"/>
                <a:chOff x="1507831" y="2703052"/>
                <a:chExt cx="624030" cy="624030"/>
              </a:xfrm>
            </p:grpSpPr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A4DB4C06-86C0-49A0-A4B2-DAB16A9BDA2E}"/>
                    </a:ext>
                  </a:extLst>
                </p:cNvPr>
                <p:cNvSpPr/>
                <p:nvPr/>
              </p:nvSpPr>
              <p:spPr>
                <a:xfrm>
                  <a:off x="1507831" y="2703052"/>
                  <a:ext cx="624030" cy="624030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" name="Plus Sign 51">
                  <a:extLst>
                    <a:ext uri="{FF2B5EF4-FFF2-40B4-BE49-F238E27FC236}">
                      <a16:creationId xmlns:a16="http://schemas.microsoft.com/office/drawing/2014/main" id="{099BAF51-A1D0-4CC5-9C99-C44F21228EF0}"/>
                    </a:ext>
                  </a:extLst>
                </p:cNvPr>
                <p:cNvSpPr/>
                <p:nvPr/>
              </p:nvSpPr>
              <p:spPr>
                <a:xfrm>
                  <a:off x="1547437" y="2757759"/>
                  <a:ext cx="548640" cy="548640"/>
                </a:xfrm>
                <a:prstGeom prst="mathPlus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FC07ACFF-9B4E-4DFA-8AD4-F0A272E841FC}"/>
                </a:ext>
              </a:extLst>
            </p:cNvPr>
            <p:cNvSpPr/>
            <p:nvPr/>
          </p:nvSpPr>
          <p:spPr>
            <a:xfrm>
              <a:off x="3938652" y="2964867"/>
              <a:ext cx="67187" cy="128196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5A919BC2-87B9-41EA-90BB-BAC6E8B22F57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65" t="-883" r="965" b="8856"/>
          <a:stretch/>
        </p:blipFill>
        <p:spPr>
          <a:xfrm>
            <a:off x="12586612" y="52921"/>
            <a:ext cx="10879086" cy="67423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49370CD-2285-44A3-AFB6-302A110A597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25055" y="3466659"/>
            <a:ext cx="868295" cy="172704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66BDBAE-A47C-46E9-8D95-1BE1D22E471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949474" y="3504826"/>
            <a:ext cx="763335" cy="168888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D3DF17-80E0-4473-BD89-D7E7E842392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83186" y="3371366"/>
            <a:ext cx="583542" cy="14509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BCAAF5-44F3-4C8A-BE13-C117EBC7771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87395" y="3457853"/>
            <a:ext cx="788569" cy="1347738"/>
          </a:xfrm>
          <a:prstGeom prst="rect">
            <a:avLst/>
          </a:prstGeom>
        </p:spPr>
      </p:pic>
      <p:sp>
        <p:nvSpPr>
          <p:cNvPr id="2" name="Arc 1">
            <a:extLst>
              <a:ext uri="{FF2B5EF4-FFF2-40B4-BE49-F238E27FC236}">
                <a16:creationId xmlns:a16="http://schemas.microsoft.com/office/drawing/2014/main" id="{16E0F010-D42B-41EF-9A76-EA4A5F1FFE2A}"/>
              </a:ext>
            </a:extLst>
          </p:cNvPr>
          <p:cNvSpPr/>
          <p:nvPr/>
        </p:nvSpPr>
        <p:spPr>
          <a:xfrm rot="18887904">
            <a:off x="152467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F606D26-F79F-4D99-B07C-3C3AAF0FA74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-8065126" y="245035"/>
            <a:ext cx="7634465" cy="700996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124EB5F-3FAA-451C-A6A9-3984A075296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-7383452" y="1777644"/>
            <a:ext cx="6265378" cy="3126765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71402A5D-8B72-425C-AFC2-CBAF4CC2A39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-69728" y="7570715"/>
            <a:ext cx="3514757" cy="6957039"/>
          </a:xfrm>
          <a:prstGeom prst="rect">
            <a:avLst/>
          </a:prstGeom>
        </p:spPr>
      </p:pic>
      <p:sp>
        <p:nvSpPr>
          <p:cNvPr id="35" name="Rounded Rectangular Callout 6">
            <a:extLst>
              <a:ext uri="{FF2B5EF4-FFF2-40B4-BE49-F238E27FC236}">
                <a16:creationId xmlns:a16="http://schemas.microsoft.com/office/drawing/2014/main" id="{9DF81AEC-EAA7-4428-BDE4-A751250FF651}"/>
              </a:ext>
            </a:extLst>
          </p:cNvPr>
          <p:cNvSpPr/>
          <p:nvPr/>
        </p:nvSpPr>
        <p:spPr>
          <a:xfrm>
            <a:off x="3716915" y="-4268320"/>
            <a:ext cx="3496017" cy="2634105"/>
          </a:xfrm>
          <a:prstGeom prst="wedgeRoundRectCallout">
            <a:avLst>
              <a:gd name="adj1" fmla="val -56398"/>
              <a:gd name="adj2" fmla="val 77584"/>
              <a:gd name="adj3" fmla="val 16667"/>
            </a:avLst>
          </a:prstGeom>
          <a:solidFill>
            <a:schemeClr val="bg1"/>
          </a:solidFill>
          <a:ln w="381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6863EAF-0719-4243-A7E2-FB40AD0362D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7117" y="-2903680"/>
            <a:ext cx="964729" cy="964729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49C57089-9BB2-4837-80A5-FF456C1B264B}"/>
              </a:ext>
            </a:extLst>
          </p:cNvPr>
          <p:cNvGrpSpPr/>
          <p:nvPr/>
        </p:nvGrpSpPr>
        <p:grpSpPr>
          <a:xfrm>
            <a:off x="5026597" y="-3958411"/>
            <a:ext cx="913642" cy="913642"/>
            <a:chOff x="5587505" y="1155447"/>
            <a:chExt cx="515727" cy="51572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822DD522-B8A8-466F-A181-61B5D4662270}"/>
                </a:ext>
              </a:extLst>
            </p:cNvPr>
            <p:cNvSpPr/>
            <p:nvPr/>
          </p:nvSpPr>
          <p:spPr>
            <a:xfrm>
              <a:off x="5587505" y="1155447"/>
              <a:ext cx="515727" cy="51572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Plus Sign 36">
              <a:extLst>
                <a:ext uri="{FF2B5EF4-FFF2-40B4-BE49-F238E27FC236}">
                  <a16:creationId xmlns:a16="http://schemas.microsoft.com/office/drawing/2014/main" id="{A7B2D0CE-4CDE-4B48-B16F-1C6D61EC79B1}"/>
                </a:ext>
              </a:extLst>
            </p:cNvPr>
            <p:cNvSpPr/>
            <p:nvPr/>
          </p:nvSpPr>
          <p:spPr>
            <a:xfrm>
              <a:off x="5617824" y="1200724"/>
              <a:ext cx="453421" cy="453421"/>
            </a:xfrm>
            <a:prstGeom prst="mathPlus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3" name="Graphic 12" descr="Piggy Bank">
            <a:extLst>
              <a:ext uri="{FF2B5EF4-FFF2-40B4-BE49-F238E27FC236}">
                <a16:creationId xmlns:a16="http://schemas.microsoft.com/office/drawing/2014/main" id="{3E81ECA0-1049-4F38-8AF6-D1057778B3E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680419" y="-2858780"/>
            <a:ext cx="1005840" cy="1005840"/>
          </a:xfrm>
          <a:prstGeom prst="rect">
            <a:avLst/>
          </a:prstGeom>
        </p:spPr>
      </p:pic>
      <p:pic>
        <p:nvPicPr>
          <p:cNvPr id="46" name="Graphic 45" descr="Lightning bolt">
            <a:extLst>
              <a:ext uri="{FF2B5EF4-FFF2-40B4-BE49-F238E27FC236}">
                <a16:creationId xmlns:a16="http://schemas.microsoft.com/office/drawing/2014/main" id="{EA586341-E971-4BB0-8EAF-75D0D8CB60D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 rot="19120886">
            <a:off x="2010746" y="1180893"/>
            <a:ext cx="1472650" cy="1472650"/>
          </a:xfrm>
          <a:prstGeom prst="rect">
            <a:avLst/>
          </a:prstGeom>
        </p:spPr>
      </p:pic>
      <p:pic>
        <p:nvPicPr>
          <p:cNvPr id="47" name="Graphic 46" descr="Lightning bolt">
            <a:extLst>
              <a:ext uri="{FF2B5EF4-FFF2-40B4-BE49-F238E27FC236}">
                <a16:creationId xmlns:a16="http://schemas.microsoft.com/office/drawing/2014/main" id="{928CD94F-6153-42B6-9490-4F96208CC8F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 rot="20410352">
            <a:off x="3125588" y="493566"/>
            <a:ext cx="1472650" cy="1472650"/>
          </a:xfrm>
          <a:prstGeom prst="rect">
            <a:avLst/>
          </a:prstGeom>
        </p:spPr>
      </p:pic>
      <p:pic>
        <p:nvPicPr>
          <p:cNvPr id="48" name="Graphic 47" descr="Lightning bolt">
            <a:extLst>
              <a:ext uri="{FF2B5EF4-FFF2-40B4-BE49-F238E27FC236}">
                <a16:creationId xmlns:a16="http://schemas.microsoft.com/office/drawing/2014/main" id="{763ECDF0-7F7D-4EBF-B6ED-1EE5E3317FD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 rot="757825">
            <a:off x="4181275" y="747610"/>
            <a:ext cx="1472650" cy="1472650"/>
          </a:xfrm>
          <a:prstGeom prst="rect">
            <a:avLst/>
          </a:prstGeom>
        </p:spPr>
      </p:pic>
      <p:pic>
        <p:nvPicPr>
          <p:cNvPr id="49" name="Graphic 48" descr="Lightning bolt">
            <a:extLst>
              <a:ext uri="{FF2B5EF4-FFF2-40B4-BE49-F238E27FC236}">
                <a16:creationId xmlns:a16="http://schemas.microsoft.com/office/drawing/2014/main" id="{0ABF9EE0-E7FC-458B-87D0-F00BB780629B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 rot="3064637">
            <a:off x="4680584" y="1435993"/>
            <a:ext cx="1472650" cy="1472650"/>
          </a:xfrm>
          <a:prstGeom prst="rect">
            <a:avLst/>
          </a:prstGeom>
        </p:spPr>
      </p:pic>
      <p:pic>
        <p:nvPicPr>
          <p:cNvPr id="54" name="Picture 53" descr="A close up of a clock&#10;&#10;Description automatically generated">
            <a:extLst>
              <a:ext uri="{FF2B5EF4-FFF2-40B4-BE49-F238E27FC236}">
                <a16:creationId xmlns:a16="http://schemas.microsoft.com/office/drawing/2014/main" id="{FD3FC003-A729-41AC-A71E-BA2BF6A10C7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9630" y="519244"/>
            <a:ext cx="1454774" cy="1454774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89E4CC64-A719-418E-B597-5FD9FBD8D37A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93" y="1093137"/>
            <a:ext cx="3069070" cy="7174450"/>
          </a:xfrm>
          <a:prstGeom prst="rect">
            <a:avLst/>
          </a:prstGeom>
        </p:spPr>
      </p:pic>
      <p:sp>
        <p:nvSpPr>
          <p:cNvPr id="56" name="Arc 55">
            <a:extLst>
              <a:ext uri="{FF2B5EF4-FFF2-40B4-BE49-F238E27FC236}">
                <a16:creationId xmlns:a16="http://schemas.microsoft.com/office/drawing/2014/main" id="{1B6F597D-1E15-4E75-8F1F-207AD7D5B3B0}"/>
              </a:ext>
            </a:extLst>
          </p:cNvPr>
          <p:cNvSpPr/>
          <p:nvPr/>
        </p:nvSpPr>
        <p:spPr>
          <a:xfrm rot="18887904">
            <a:off x="8922161" y="3740972"/>
            <a:ext cx="650056" cy="620882"/>
          </a:xfrm>
          <a:custGeom>
            <a:avLst/>
            <a:gdLst>
              <a:gd name="connsiteX0" fmla="*/ 325028 w 650056"/>
              <a:gd name="connsiteY0" fmla="*/ 0 h 620882"/>
              <a:gd name="connsiteX1" fmla="*/ 650056 w 650056"/>
              <a:gd name="connsiteY1" fmla="*/ 310441 h 620882"/>
              <a:gd name="connsiteX2" fmla="*/ 325028 w 650056"/>
              <a:gd name="connsiteY2" fmla="*/ 310441 h 620882"/>
              <a:gd name="connsiteX3" fmla="*/ 325028 w 650056"/>
              <a:gd name="connsiteY3" fmla="*/ 0 h 620882"/>
              <a:gd name="connsiteX0" fmla="*/ 325028 w 650056"/>
              <a:gd name="connsiteY0" fmla="*/ 0 h 620882"/>
              <a:gd name="connsiteX1" fmla="*/ 650056 w 650056"/>
              <a:gd name="connsiteY1" fmla="*/ 310441 h 62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056" h="620882" stroke="0" extrusionOk="0">
                <a:moveTo>
                  <a:pt x="325028" y="0"/>
                </a:moveTo>
                <a:cubicBezTo>
                  <a:pt x="469450" y="-12574"/>
                  <a:pt x="669537" y="156780"/>
                  <a:pt x="650056" y="310441"/>
                </a:cubicBezTo>
                <a:cubicBezTo>
                  <a:pt x="512206" y="315929"/>
                  <a:pt x="481036" y="302698"/>
                  <a:pt x="325028" y="310441"/>
                </a:cubicBezTo>
                <a:cubicBezTo>
                  <a:pt x="329564" y="190982"/>
                  <a:pt x="340467" y="102586"/>
                  <a:pt x="325028" y="0"/>
                </a:cubicBezTo>
                <a:close/>
              </a:path>
              <a:path w="650056" h="620882" fill="none" extrusionOk="0">
                <a:moveTo>
                  <a:pt x="325028" y="0"/>
                </a:moveTo>
                <a:cubicBezTo>
                  <a:pt x="525073" y="-28954"/>
                  <a:pt x="658712" y="153998"/>
                  <a:pt x="650056" y="310441"/>
                </a:cubicBezTo>
              </a:path>
              <a:path w="650056" h="620882" fill="none" stroke="0" extrusionOk="0">
                <a:moveTo>
                  <a:pt x="325028" y="0"/>
                </a:moveTo>
                <a:cubicBezTo>
                  <a:pt x="497887" y="-6855"/>
                  <a:pt x="646445" y="124594"/>
                  <a:pt x="650056" y="310441"/>
                </a:cubicBezTo>
              </a:path>
            </a:pathLst>
          </a:custGeom>
          <a:ln w="571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877046351">
                  <a:prstGeom prst="arc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3C53E8F8-4DF4-4C65-B450-3D73CB79E74C}"/>
              </a:ext>
            </a:extLst>
          </p:cNvPr>
          <p:cNvSpPr/>
          <p:nvPr/>
        </p:nvSpPr>
        <p:spPr>
          <a:xfrm rot="6946001">
            <a:off x="9376894" y="2928027"/>
            <a:ext cx="3038920" cy="1001945"/>
          </a:xfrm>
          <a:custGeom>
            <a:avLst/>
            <a:gdLst>
              <a:gd name="connsiteX0" fmla="*/ 2959797 w 3038920"/>
              <a:gd name="connsiteY0" fmla="*/ 393904 h 1001945"/>
              <a:gd name="connsiteX1" fmla="*/ 1519460 w 3038920"/>
              <a:gd name="connsiteY1" fmla="*/ 0 h 1001945"/>
              <a:gd name="connsiteX2" fmla="*/ 79124 w 3038920"/>
              <a:gd name="connsiteY2" fmla="*/ 393904 h 1001945"/>
              <a:gd name="connsiteX3" fmla="*/ 27399 w 3038920"/>
              <a:gd name="connsiteY3" fmla="*/ 620697 h 1001945"/>
              <a:gd name="connsiteX4" fmla="*/ 238277 w 3038920"/>
              <a:gd name="connsiteY4" fmla="*/ 931046 h 1001945"/>
              <a:gd name="connsiteX5" fmla="*/ 480985 w 3038920"/>
              <a:gd name="connsiteY5" fmla="*/ 954919 h 1001945"/>
              <a:gd name="connsiteX6" fmla="*/ 675948 w 3038920"/>
              <a:gd name="connsiteY6" fmla="*/ 759957 h 1001945"/>
              <a:gd name="connsiteX7" fmla="*/ 723694 w 3038920"/>
              <a:gd name="connsiteY7" fmla="*/ 648549 h 1001945"/>
              <a:gd name="connsiteX8" fmla="*/ 723694 w 3038920"/>
              <a:gd name="connsiteY8" fmla="*/ 445629 h 1001945"/>
              <a:gd name="connsiteX9" fmla="*/ 1519460 w 3038920"/>
              <a:gd name="connsiteY9" fmla="*/ 314328 h 1001945"/>
              <a:gd name="connsiteX10" fmla="*/ 2315226 w 3038920"/>
              <a:gd name="connsiteY10" fmla="*/ 445629 h 1001945"/>
              <a:gd name="connsiteX11" fmla="*/ 2315226 w 3038920"/>
              <a:gd name="connsiteY11" fmla="*/ 648549 h 1001945"/>
              <a:gd name="connsiteX12" fmla="*/ 2362972 w 3038920"/>
              <a:gd name="connsiteY12" fmla="*/ 759957 h 1001945"/>
              <a:gd name="connsiteX13" fmla="*/ 2557935 w 3038920"/>
              <a:gd name="connsiteY13" fmla="*/ 954919 h 1001945"/>
              <a:gd name="connsiteX14" fmla="*/ 2800643 w 3038920"/>
              <a:gd name="connsiteY14" fmla="*/ 931046 h 1001945"/>
              <a:gd name="connsiteX15" fmla="*/ 3011522 w 3038920"/>
              <a:gd name="connsiteY15" fmla="*/ 620697 h 1001945"/>
              <a:gd name="connsiteX16" fmla="*/ 2959797 w 3038920"/>
              <a:gd name="connsiteY16" fmla="*/ 393904 h 1001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38920" h="1001945">
                <a:moveTo>
                  <a:pt x="2959797" y="393904"/>
                </a:moveTo>
                <a:cubicBezTo>
                  <a:pt x="2538041" y="143238"/>
                  <a:pt x="2044666" y="0"/>
                  <a:pt x="1519460" y="0"/>
                </a:cubicBezTo>
                <a:cubicBezTo>
                  <a:pt x="994254" y="0"/>
                  <a:pt x="500880" y="143238"/>
                  <a:pt x="79124" y="393904"/>
                </a:cubicBezTo>
                <a:cubicBezTo>
                  <a:pt x="-453" y="441650"/>
                  <a:pt x="-24326" y="545100"/>
                  <a:pt x="27399" y="620697"/>
                </a:cubicBezTo>
                <a:lnTo>
                  <a:pt x="238277" y="931046"/>
                </a:lnTo>
                <a:cubicBezTo>
                  <a:pt x="293980" y="1014602"/>
                  <a:pt x="413345" y="1026538"/>
                  <a:pt x="480985" y="954919"/>
                </a:cubicBezTo>
                <a:lnTo>
                  <a:pt x="675948" y="759957"/>
                </a:lnTo>
                <a:cubicBezTo>
                  <a:pt x="707779" y="728126"/>
                  <a:pt x="723694" y="688338"/>
                  <a:pt x="723694" y="648549"/>
                </a:cubicBezTo>
                <a:lnTo>
                  <a:pt x="723694" y="445629"/>
                </a:lnTo>
                <a:cubicBezTo>
                  <a:pt x="974360" y="362074"/>
                  <a:pt x="1240942" y="314328"/>
                  <a:pt x="1519460" y="314328"/>
                </a:cubicBezTo>
                <a:cubicBezTo>
                  <a:pt x="1797978" y="314328"/>
                  <a:pt x="2064560" y="362074"/>
                  <a:pt x="2315226" y="445629"/>
                </a:cubicBezTo>
                <a:lnTo>
                  <a:pt x="2315226" y="648549"/>
                </a:lnTo>
                <a:cubicBezTo>
                  <a:pt x="2315226" y="692317"/>
                  <a:pt x="2331142" y="732105"/>
                  <a:pt x="2362972" y="759957"/>
                </a:cubicBezTo>
                <a:lnTo>
                  <a:pt x="2557935" y="954919"/>
                </a:lnTo>
                <a:cubicBezTo>
                  <a:pt x="2629554" y="1026538"/>
                  <a:pt x="2744940" y="1014602"/>
                  <a:pt x="2800643" y="931046"/>
                </a:cubicBezTo>
                <a:lnTo>
                  <a:pt x="3011522" y="620697"/>
                </a:lnTo>
                <a:cubicBezTo>
                  <a:pt x="3063246" y="545100"/>
                  <a:pt x="3039373" y="441650"/>
                  <a:pt x="2959797" y="393904"/>
                </a:cubicBezTo>
                <a:close/>
              </a:path>
            </a:pathLst>
          </a:custGeom>
          <a:solidFill>
            <a:srgbClr val="000000"/>
          </a:solidFill>
          <a:ln w="39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4509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" fill="hold">
                                          <p:stCondLst>
                                            <p:cond delay="4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" fill="hold">
                                          <p:stCondLst>
                                            <p:cond delay="98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" fill="hold">
                                          <p:stCondLst>
                                            <p:cond delay="147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2" fill="hold">
                                          <p:stCondLst>
                                            <p:cond delay="4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4" dur="2" fill="hold">
                                          <p:stCondLst>
                                            <p:cond delay="98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2" fill="hold">
                                          <p:stCondLst>
                                            <p:cond delay="147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6" dur="2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9" dur="2" fill="hold">
                                          <p:stCondLst>
                                            <p:cond delay="4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0" dur="2" fill="hold">
                                          <p:stCondLst>
                                            <p:cond delay="98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1" dur="2" fill="hold">
                                          <p:stCondLst>
                                            <p:cond delay="147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2" dur="2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5" dur="2" fill="hold">
                                          <p:stCondLst>
                                            <p:cond delay="4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6" dur="2" fill="hold">
                                          <p:stCondLst>
                                            <p:cond delay="98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7" dur="2" fill="hold">
                                          <p:stCondLst>
                                            <p:cond delay="147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8" dur="2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7FmB5xkKfbEfGHQbxG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5hmZJZFOulZxPhCTdM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7</Words>
  <Application>Microsoft Office PowerPoint</Application>
  <PresentationFormat>Widescreen</PresentationFormat>
  <Paragraphs>94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Arial Nova</vt:lpstr>
      <vt:lpstr>Bahnschrift</vt:lpstr>
      <vt:lpstr>Calibri</vt:lpstr>
      <vt:lpstr>Calibri Light</vt:lpstr>
      <vt:lpstr>Comic Sans MS</vt:lpstr>
      <vt:lpstr>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nh-Kha Nguyen</dc:creator>
  <cp:lastModifiedBy>Minh-Kha Nguyen</cp:lastModifiedBy>
  <cp:revision>46</cp:revision>
  <dcterms:created xsi:type="dcterms:W3CDTF">2019-10-26T10:21:34Z</dcterms:created>
  <dcterms:modified xsi:type="dcterms:W3CDTF">2020-04-05T11:40:31Z</dcterms:modified>
</cp:coreProperties>
</file>